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  <p:sldMasterId id="2147483660" r:id="rId7"/>
  </p:sldMasterIdLst>
  <p:notesMasterIdLst>
    <p:notesMasterId r:id="rId9"/>
  </p:notesMasterIdLst>
  <p:sldIdLst>
    <p:sldId id="4289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0748DD-FFD3-9383-3B03-CC01995EF13F}" v="20" dt="2021-10-06T18:50:44.0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1" d="100"/>
          <a:sy n="61" d="100"/>
        </p:scale>
        <p:origin x="60" y="1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chez, Adrienne" userId="S::adrienne.sanchez@us.nationalgrid.com::9f24be0b-94f0-489b-b050-1237b1385c92" providerId="AD" clId="Web-{260748DD-FFD3-9383-3B03-CC01995EF13F}"/>
    <pc:docChg chg="modSld">
      <pc:chgData name="Sanchez, Adrienne" userId="S::adrienne.sanchez@us.nationalgrid.com::9f24be0b-94f0-489b-b050-1237b1385c92" providerId="AD" clId="Web-{260748DD-FFD3-9383-3B03-CC01995EF13F}" dt="2021-10-06T18:50:42.907" v="2" actId="20577"/>
      <pc:docMkLst>
        <pc:docMk/>
      </pc:docMkLst>
      <pc:sldChg chg="modSp">
        <pc:chgData name="Sanchez, Adrienne" userId="S::adrienne.sanchez@us.nationalgrid.com::9f24be0b-94f0-489b-b050-1237b1385c92" providerId="AD" clId="Web-{260748DD-FFD3-9383-3B03-CC01995EF13F}" dt="2021-10-06T18:50:42.907" v="2" actId="20577"/>
        <pc:sldMkLst>
          <pc:docMk/>
          <pc:sldMk cId="1325534237" sldId="4289"/>
        </pc:sldMkLst>
        <pc:spChg chg="mod">
          <ac:chgData name="Sanchez, Adrienne" userId="S::adrienne.sanchez@us.nationalgrid.com::9f24be0b-94f0-489b-b050-1237b1385c92" providerId="AD" clId="Web-{260748DD-FFD3-9383-3B03-CC01995EF13F}" dt="2021-10-06T18:50:42.907" v="2" actId="20577"/>
          <ac:spMkLst>
            <pc:docMk/>
            <pc:sldMk cId="1325534237" sldId="4289"/>
            <ac:spMk id="94" creationId="{3C7F2B71-9409-4984-9223-5B6DCBB0BAFF}"/>
          </ac:spMkLst>
        </pc:spChg>
      </pc:sldChg>
    </pc:docChg>
  </pc:docChgLst>
  <pc:docChgLst>
    <pc:chgData name="Sanchez, Adrienne" userId="9f24be0b-94f0-489b-b050-1237b1385c92" providerId="ADAL" clId="{F87A5C6C-F539-44D5-803F-731B2352ECF7}"/>
    <pc:docChg chg="undo custSel modSld">
      <pc:chgData name="Sanchez, Adrienne" userId="9f24be0b-94f0-489b-b050-1237b1385c92" providerId="ADAL" clId="{F87A5C6C-F539-44D5-803F-731B2352ECF7}" dt="2021-10-06T18:45:23.603" v="77" actId="1076"/>
      <pc:docMkLst>
        <pc:docMk/>
      </pc:docMkLst>
      <pc:sldChg chg="modSp mod">
        <pc:chgData name="Sanchez, Adrienne" userId="9f24be0b-94f0-489b-b050-1237b1385c92" providerId="ADAL" clId="{F87A5C6C-F539-44D5-803F-731B2352ECF7}" dt="2021-10-06T18:45:23.603" v="77" actId="1076"/>
        <pc:sldMkLst>
          <pc:docMk/>
          <pc:sldMk cId="1325534237" sldId="4289"/>
        </pc:sldMkLst>
        <pc:spChg chg="mod">
          <ac:chgData name="Sanchez, Adrienne" userId="9f24be0b-94f0-489b-b050-1237b1385c92" providerId="ADAL" clId="{F87A5C6C-F539-44D5-803F-731B2352ECF7}" dt="2021-10-06T18:44:10.431" v="50" actId="1076"/>
          <ac:spMkLst>
            <pc:docMk/>
            <pc:sldMk cId="1325534237" sldId="4289"/>
            <ac:spMk id="3" creationId="{841720E8-5BCA-4014-AAB8-2084A1E8BA2C}"/>
          </ac:spMkLst>
        </pc:spChg>
        <pc:spChg chg="mod">
          <ac:chgData name="Sanchez, Adrienne" userId="9f24be0b-94f0-489b-b050-1237b1385c92" providerId="ADAL" clId="{F87A5C6C-F539-44D5-803F-731B2352ECF7}" dt="2021-10-06T18:43:34.738" v="24" actId="1076"/>
          <ac:spMkLst>
            <pc:docMk/>
            <pc:sldMk cId="1325534237" sldId="4289"/>
            <ac:spMk id="50" creationId="{9312F060-B3D8-49A1-AC65-9B537831E709}"/>
          </ac:spMkLst>
        </pc:spChg>
        <pc:spChg chg="mod">
          <ac:chgData name="Sanchez, Adrienne" userId="9f24be0b-94f0-489b-b050-1237b1385c92" providerId="ADAL" clId="{F87A5C6C-F539-44D5-803F-731B2352ECF7}" dt="2021-10-06T18:45:18.293" v="76" actId="20577"/>
          <ac:spMkLst>
            <pc:docMk/>
            <pc:sldMk cId="1325534237" sldId="4289"/>
            <ac:spMk id="126" creationId="{BA7152A3-EE20-4937-AA85-6F8DCBE5FFCF}"/>
          </ac:spMkLst>
        </pc:spChg>
        <pc:spChg chg="mod">
          <ac:chgData name="Sanchez, Adrienne" userId="9f24be0b-94f0-489b-b050-1237b1385c92" providerId="ADAL" clId="{F87A5C6C-F539-44D5-803F-731B2352ECF7}" dt="2021-10-06T18:44:04.327" v="49" actId="1076"/>
          <ac:spMkLst>
            <pc:docMk/>
            <pc:sldMk cId="1325534237" sldId="4289"/>
            <ac:spMk id="173" creationId="{0DF0349D-D457-4C48-8026-0F247C5401A8}"/>
          </ac:spMkLst>
        </pc:spChg>
        <pc:spChg chg="mod">
          <ac:chgData name="Sanchez, Adrienne" userId="9f24be0b-94f0-489b-b050-1237b1385c92" providerId="ADAL" clId="{F87A5C6C-F539-44D5-803F-731B2352ECF7}" dt="2021-10-06T18:43:45.710" v="47" actId="20577"/>
          <ac:spMkLst>
            <pc:docMk/>
            <pc:sldMk cId="1325534237" sldId="4289"/>
            <ac:spMk id="175" creationId="{3C098C1E-F5B4-495F-8CE6-9948FA1BCEB6}"/>
          </ac:spMkLst>
        </pc:spChg>
        <pc:spChg chg="mod">
          <ac:chgData name="Sanchez, Adrienne" userId="9f24be0b-94f0-489b-b050-1237b1385c92" providerId="ADAL" clId="{F87A5C6C-F539-44D5-803F-731B2352ECF7}" dt="2021-10-06T18:44:52.244" v="65" actId="114"/>
          <ac:spMkLst>
            <pc:docMk/>
            <pc:sldMk cId="1325534237" sldId="4289"/>
            <ac:spMk id="176" creationId="{88FF05F3-DCF0-4743-8BD8-98EF0B8CA9E1}"/>
          </ac:spMkLst>
        </pc:spChg>
        <pc:grpChg chg="mod">
          <ac:chgData name="Sanchez, Adrienne" userId="9f24be0b-94f0-489b-b050-1237b1385c92" providerId="ADAL" clId="{F87A5C6C-F539-44D5-803F-731B2352ECF7}" dt="2021-10-06T18:45:23.603" v="77" actId="1076"/>
          <ac:grpSpMkLst>
            <pc:docMk/>
            <pc:sldMk cId="1325534237" sldId="4289"/>
            <ac:grpSpMk id="125" creationId="{A535B213-62FB-4DC5-8402-1F13AE9FECCF}"/>
          </ac:grpSpMkLst>
        </pc:grpChg>
      </pc:sldChg>
    </pc:docChg>
  </pc:docChgLst>
  <pc:docChgLst>
    <pc:chgData name="Sanchez, Adrienne" userId="9f24be0b-94f0-489b-b050-1237b1385c92" providerId="ADAL" clId="{EB1620D2-3E96-44B1-810A-51661F5BF75C}"/>
    <pc:docChg chg="addSld delSld modSld">
      <pc:chgData name="Sanchez, Adrienne" userId="9f24be0b-94f0-489b-b050-1237b1385c92" providerId="ADAL" clId="{EB1620D2-3E96-44B1-810A-51661F5BF75C}" dt="2021-09-30T20:43:50.473" v="1" actId="2696"/>
      <pc:docMkLst>
        <pc:docMk/>
      </pc:docMkLst>
      <pc:sldChg chg="del">
        <pc:chgData name="Sanchez, Adrienne" userId="9f24be0b-94f0-489b-b050-1237b1385c92" providerId="ADAL" clId="{EB1620D2-3E96-44B1-810A-51661F5BF75C}" dt="2021-09-30T20:43:50.473" v="1" actId="2696"/>
        <pc:sldMkLst>
          <pc:docMk/>
          <pc:sldMk cId="2660612145" sldId="4288"/>
        </pc:sldMkLst>
      </pc:sldChg>
      <pc:sldChg chg="add">
        <pc:chgData name="Sanchez, Adrienne" userId="9f24be0b-94f0-489b-b050-1237b1385c92" providerId="ADAL" clId="{EB1620D2-3E96-44B1-810A-51661F5BF75C}" dt="2021-09-30T20:43:46.891" v="0"/>
        <pc:sldMkLst>
          <pc:docMk/>
          <pc:sldMk cId="1325534237" sldId="4289"/>
        </pc:sldMkLst>
      </pc:sldChg>
    </pc:docChg>
  </pc:docChgLst>
  <pc:docChgLst>
    <pc:chgData clId="Web-{260748DD-FFD3-9383-3B03-CC01995EF13F}"/>
    <pc:docChg chg="modSld">
      <pc:chgData name="" userId="" providerId="" clId="Web-{260748DD-FFD3-9383-3B03-CC01995EF13F}" dt="2021-10-06T18:50:38.688" v="5" actId="20577"/>
      <pc:docMkLst>
        <pc:docMk/>
      </pc:docMkLst>
      <pc:sldChg chg="modSp">
        <pc:chgData name="" userId="" providerId="" clId="Web-{260748DD-FFD3-9383-3B03-CC01995EF13F}" dt="2021-10-06T18:50:38.688" v="5" actId="20577"/>
        <pc:sldMkLst>
          <pc:docMk/>
          <pc:sldMk cId="1325534237" sldId="4289"/>
        </pc:sldMkLst>
        <pc:spChg chg="mod">
          <ac:chgData name="" userId="" providerId="" clId="Web-{260748DD-FFD3-9383-3B03-CC01995EF13F}" dt="2021-10-06T18:50:38.688" v="5" actId="20577"/>
          <ac:spMkLst>
            <pc:docMk/>
            <pc:sldMk cId="1325534237" sldId="4289"/>
            <ac:spMk id="94" creationId="{3C7F2B71-9409-4984-9223-5B6DCBB0BAFF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F7E0AE-C3DF-46E2-BD38-C7B6B4DE1013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B1170-90B5-4C4C-9474-A3075D4F03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3298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8270" y="6316565"/>
            <a:ext cx="5669451" cy="598456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8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EBC3AD-2311-4F64-A6D3-0CE0D33739A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58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59117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C4F6C-4C79-4D0C-8E89-557C5D1D5A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6C4C934-ECC3-445C-B1A4-B76872A861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B4CF3E-645F-4A51-9BCE-DAEAEC6788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FD63DD-B0AC-4A9F-9A18-B93B93FE4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EFE155-0309-45C6-AB99-923873F8B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1026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949D6-AFD1-4840-B80D-2102B5F13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9989F6-F935-4B38-A23C-AA01F8294F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EB9925-17D0-4779-8705-DE8F12662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6CD945-BA1B-4424-913F-880EAC426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D86D3B-BA5F-40E7-85FD-94E31DBCC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474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1AA9187-418B-4196-B0F8-929AD275C9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49C8A4E-CBA0-4A27-A68C-78291A5B8F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9FA206-6DAB-4B43-99CE-96653EC374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AE79BB-506B-4812-8916-1582E271E3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C1FFA0-C45A-4DA7-96B4-7BBDBAAEC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944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483696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8920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754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748636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76860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978413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3070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57946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D64253-FCD7-44B6-A5B6-96291CA16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E6DB66-548C-4EDE-A0FF-D9CE82D2AB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A38F95-B655-4413-A1F5-6765B0734C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EA91F3-29B3-4DAB-853A-60A42D8E51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A81B2C-BBE9-4F87-B4CB-B62CA2FE71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0899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727368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394235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56083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401079343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5852751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4181402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159420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159420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159420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8427891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449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5902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22935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508D7-4212-4BF3-894C-9952FF9E7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E4E145-D571-42D3-AE57-B0A08501D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B2FF37-881F-4E33-AE42-147FAC34E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69304C-E783-46DC-8D59-0964F27EC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58A143-430C-4380-8BEC-4303D2502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5270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404069056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5A77B-1FAB-4E36-83B1-4DC253A38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308F1D-281A-4389-BF44-61D699281F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9BA25F-7C33-4266-B444-F92D7519F3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F31087-A01B-4F4F-89B5-2136E6BCF7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80039-8C6D-40A0-BA07-98D2F60677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4A8EA5-CA42-4D94-B09D-451DC8B90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822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71028-DFBE-4647-AF79-54E1AE8C9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456AA3-2E86-44D0-ACA1-ADB2904BB6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B6C35B-3461-43CE-B4B0-DD0BF6ADFD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D84471-FA6B-4002-B961-E14AA183771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C66FF31-29E3-47E0-BD9E-1AB4124EA2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9806E80-7812-4167-B55B-07BD6BA9B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DFAC003-BD4C-411F-8E69-10FA4E3C9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3FBBAB-E0FA-47F4-B126-4DC02E1A7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700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B862A1-D1AA-42B6-89FA-0AE0E3C17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356A37-5D52-446A-BBAE-562FA0242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17AE95-3271-4EB5-9C57-3E0CA8B89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11DD82-4C2D-4B5A-8B53-2843340E6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82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E733F1-8127-40FD-A0FF-0469437040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F4A5FB-E648-46D7-9B29-F1E2FF8CA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93EFD3-6F3D-4C6A-BC0F-F6B424C5F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762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93E31-63D1-4BA4-8EA0-B7EEE214D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E1DFC5-C0A7-4E25-9EDA-42FEAB27BA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6C6095-5EE0-44BD-91F5-7624F1BA10A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FA5C85-B956-4E5A-BEA9-F80BA6323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12583E-5F71-49D4-80B2-7169AF85F4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02C54A-BC4F-4952-BFB7-0BD9E654F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8626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F31594-C807-4373-9FAF-E4101F2BB2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7568884-4E2B-46D4-AC87-CFAC5AD09B1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3D55E1-0A03-4A12-863F-6AAC3D7EA0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78A4A0-FD52-4DFA-9F69-2E5BBB9F6F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C59F75-861B-47CA-9B93-07571A54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4E69FF-6E73-4A12-A07B-F18A7AC425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3450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A8BBF78-5125-42EA-B9F9-65A28E65D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B39084-725F-4B00-B173-3B2305D97A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3800E2-ABC2-4210-BD68-F9971F640D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FF01FA-63A3-48B1-9E95-638908048CFE}" type="datetimeFigureOut">
              <a:rPr lang="en-US" smtClean="0"/>
              <a:t>10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E07C7D-CAE6-4397-A97F-94C9E38163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21AF8A-2BF1-4162-B502-4EFF64780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7D01C-33F7-462A-ACC1-4AB2081EA1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165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75F82A-7880-46EE-B849-FE254B24EC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21993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3" imgW="381" imgH="381" progId="TCLayout.ActiveDocument.1">
                  <p:embed/>
                </p:oleObj>
              </mc:Choice>
              <mc:Fallback>
                <p:oleObj name="think-cell Slide" r:id="rId23" imgW="381" imgH="3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975F82A-7880-46EE-B849-FE254B24E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2096623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hyperlink" Target="https://www.linkedin.com/learning/introduction-to-digital-twins/what-skills-are-required?u=91746834" TargetMode="External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12" Type="http://schemas.openxmlformats.org/officeDocument/2006/relationships/hyperlink" Target="https://www.linkedin.com/learning-login/share?account=91746834&amp;forceAccount=false&amp;redirect=https%3A%2F%2Fwww.linkedin.com%2Flearning%2Fmicrosoft-teams-tips-and-tricks%3Ftrk%3Dshare_ent_url%26shareId%3DkMNpsn4LTOSyzCRDCkHq%252Bw%253D%253D" TargetMode="External"/><Relationship Id="rId17" Type="http://schemas.openxmlformats.org/officeDocument/2006/relationships/hyperlink" Target="https://www.linkedin.com/learning-login/share?account=91746834&amp;forceAccount=false&amp;redirect=https%3A%2F%2Fwww.linkedin.com%2Flearning%2Flean-foundations%3Ftrk%3Dshare_ent_url%26shareId%3D%252FA3WfTTzS4G3EAg1t06lQw%253D%253D" TargetMode="External"/><Relationship Id="rId2" Type="http://schemas.openxmlformats.org/officeDocument/2006/relationships/notesSlide" Target="../notesSlides/notesSlide1.xml"/><Relationship Id="rId16" Type="http://schemas.openxmlformats.org/officeDocument/2006/relationships/hyperlink" Target="https://www.linkedin.com/learning-login/share?account=91746834&amp;forceAccount=false&amp;redirect=https%3A%2F%2Fwww.linkedin.com%2Flearning%2Fcybersecurity-at-work%3Ftrk%3Dshare_ent_url%26shareId%3D8tHsDc3UQ5md53cS7MB1vA%253D%253D" TargetMode="Externa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11" Type="http://schemas.openxmlformats.org/officeDocument/2006/relationships/image" Target="../media/image12.png"/><Relationship Id="rId5" Type="http://schemas.openxmlformats.org/officeDocument/2006/relationships/hyperlink" Target="https://nationalgridplc.sharepoint.com/sites/Classic-INT-US-SolutionsDevelopment/US/DevOps/SitePages/Home.aspx" TargetMode="External"/><Relationship Id="rId15" Type="http://schemas.openxmlformats.org/officeDocument/2006/relationships/hyperlink" Target="https://www.linkedin.com/learning/data-driven-decision-making-for-business-professionals/getting-value-from-data-to-draw-business-conclusions?u=91746834" TargetMode="External"/><Relationship Id="rId10" Type="http://schemas.openxmlformats.org/officeDocument/2006/relationships/hyperlink" Target="https://nationalgridplc.sharepoint.com/sites/GRP-COMMS-US-INT-Agiletransformationoffice/Agile%20Training%20Presentations/Agile%20Foundation%20Training.mp4" TargetMode="External"/><Relationship Id="rId4" Type="http://schemas.openxmlformats.org/officeDocument/2006/relationships/image" Target="../media/image4.svg"/><Relationship Id="rId9" Type="http://schemas.openxmlformats.org/officeDocument/2006/relationships/image" Target="../media/image11.sv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5A6F2AF-7442-40F7-A5F6-456CD3CF3A7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D8575687-EC5D-4CA7-9BEE-92BF4F4C0B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90075" y="110981"/>
            <a:ext cx="1573219" cy="323466"/>
          </a:xfrm>
          <a:prstGeom prst="rect">
            <a:avLst/>
          </a:prstGeom>
        </p:spPr>
      </p:pic>
      <p:sp>
        <p:nvSpPr>
          <p:cNvPr id="94" name="TextBox 482">
            <a:extLst>
              <a:ext uri="{FF2B5EF4-FFF2-40B4-BE49-F238E27FC236}">
                <a16:creationId xmlns:a16="http://schemas.microsoft.com/office/drawing/2014/main" id="{3C7F2B71-9409-4984-9223-5B6DCBB0BA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1051" y="134492"/>
            <a:ext cx="5652968" cy="295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8486" tIns="9244" rIns="18486" bIns="9244" anchor="t">
            <a:spAutoFit/>
          </a:bodyPr>
          <a:lstStyle>
            <a:lvl1pPr eaLnBrk="0" hangingPunct="0">
              <a:tabLst>
                <a:tab pos="4572000" algn="l"/>
              </a:tabLs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4572000" algn="l"/>
              </a:tabLs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4572000" algn="l"/>
              </a:tabLs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4572000" algn="l"/>
              </a:tabLs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4572000" algn="l"/>
              </a:tabLs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l"/>
              </a:tabLs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l"/>
              </a:tabLs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l"/>
              </a:tabLs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l"/>
              </a:tabLst>
              <a:defRPr sz="13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800" b="1" dirty="0">
                <a:solidFill>
                  <a:schemeClr val="bg1"/>
                </a:solidFill>
                <a:latin typeface="Arial"/>
                <a:ea typeface="Tahoma"/>
                <a:cs typeface="Tahoma"/>
              </a:rPr>
              <a:t>Core – Learning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Tahoma"/>
                <a:cs typeface="Tahoma"/>
              </a:rPr>
              <a:t> Journey</a:t>
            </a:r>
            <a:endParaRPr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3E728651-9B71-4E3D-8107-0F453202ADAF}"/>
              </a:ext>
            </a:extLst>
          </p:cNvPr>
          <p:cNvSpPr/>
          <p:nvPr/>
        </p:nvSpPr>
        <p:spPr bwMode="auto">
          <a:xfrm>
            <a:off x="345378" y="612074"/>
            <a:ext cx="8501834" cy="342371"/>
          </a:xfrm>
          <a:prstGeom prst="chevron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450"/>
              </a:spcAft>
            </a:pPr>
            <a:r>
              <a:rPr lang="en-US" sz="1400" b="1" dirty="0">
                <a:solidFill>
                  <a:schemeClr val="tx1">
                    <a:lumMod val="50000"/>
                  </a:schemeClr>
                </a:solidFill>
              </a:rPr>
              <a:t>       IT and Digital Core Knowledge                                       Enablement and Effectiveness</a:t>
            </a:r>
            <a:endParaRPr lang="en-US" sz="1400" dirty="0">
              <a:solidFill>
                <a:schemeClr val="tx1">
                  <a:lumMod val="50000"/>
                </a:schemeClr>
              </a:solidFill>
              <a:cs typeface="Arial"/>
            </a:endParaRPr>
          </a:p>
          <a:p>
            <a:pPr algn="l">
              <a:spcAft>
                <a:spcPts val="450"/>
              </a:spcAft>
            </a:pPr>
            <a:endParaRPr lang="en-US" sz="1800" dirty="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70" name="Arrow: Chevron 169">
            <a:extLst>
              <a:ext uri="{FF2B5EF4-FFF2-40B4-BE49-F238E27FC236}">
                <a16:creationId xmlns:a16="http://schemas.microsoft.com/office/drawing/2014/main" id="{7F23C405-18B0-4CCC-8F75-8E819068496C}"/>
              </a:ext>
            </a:extLst>
          </p:cNvPr>
          <p:cNvSpPr/>
          <p:nvPr/>
        </p:nvSpPr>
        <p:spPr bwMode="auto">
          <a:xfrm>
            <a:off x="8892736" y="608160"/>
            <a:ext cx="2848053" cy="340006"/>
          </a:xfrm>
          <a:prstGeom prst="chevron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US" sz="1400" b="1" dirty="0">
                <a:solidFill>
                  <a:schemeClr val="tx1">
                    <a:lumMod val="50000"/>
                  </a:schemeClr>
                </a:solidFill>
              </a:rPr>
              <a:t>Role Based</a:t>
            </a: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  <a:p>
            <a:pPr algn="l">
              <a:spcAft>
                <a:spcPts val="450"/>
              </a:spcAft>
            </a:pPr>
            <a:endParaRPr lang="en-US" sz="1800" dirty="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51" name="Shape 171">
            <a:extLst>
              <a:ext uri="{FF2B5EF4-FFF2-40B4-BE49-F238E27FC236}">
                <a16:creationId xmlns:a16="http://schemas.microsoft.com/office/drawing/2014/main" id="{1AB5CC44-D7E7-4B87-927F-62FF67D873E0}"/>
              </a:ext>
            </a:extLst>
          </p:cNvPr>
          <p:cNvSpPr/>
          <p:nvPr/>
        </p:nvSpPr>
        <p:spPr>
          <a:xfrm>
            <a:off x="566374" y="5673197"/>
            <a:ext cx="11003581" cy="631565"/>
          </a:xfrm>
          <a:custGeom>
            <a:avLst/>
            <a:gdLst>
              <a:gd name="connsiteX0" fmla="*/ 0 w 21600"/>
              <a:gd name="connsiteY0" fmla="*/ 3349 h 16894"/>
              <a:gd name="connsiteX1" fmla="*/ 835 w 21600"/>
              <a:gd name="connsiteY1" fmla="*/ 6547 h 16894"/>
              <a:gd name="connsiteX2" fmla="*/ 2296 w 21600"/>
              <a:gd name="connsiteY2" fmla="*/ 8977 h 16894"/>
              <a:gd name="connsiteX3" fmla="*/ 3610 w 21600"/>
              <a:gd name="connsiteY3" fmla="*/ 4920 h 16894"/>
              <a:gd name="connsiteX4" fmla="*/ 5185 w 21600"/>
              <a:gd name="connsiteY4" fmla="*/ 3431 h 16894"/>
              <a:gd name="connsiteX5" fmla="*/ 6943 w 21600"/>
              <a:gd name="connsiteY5" fmla="*/ 8460 h 16894"/>
              <a:gd name="connsiteX6" fmla="*/ 10538 w 21600"/>
              <a:gd name="connsiteY6" fmla="*/ 7586 h 16894"/>
              <a:gd name="connsiteX7" fmla="*/ 12744 w 21600"/>
              <a:gd name="connsiteY7" fmla="*/ 13415 h 16894"/>
              <a:gd name="connsiteX8" fmla="*/ 14502 w 21600"/>
              <a:gd name="connsiteY8" fmla="*/ 6979 h 16894"/>
              <a:gd name="connsiteX9" fmla="*/ 16159 w 21600"/>
              <a:gd name="connsiteY9" fmla="*/ 5663 h 16894"/>
              <a:gd name="connsiteX10" fmla="*/ 16846 w 21600"/>
              <a:gd name="connsiteY10" fmla="*/ 707 h 16894"/>
              <a:gd name="connsiteX11" fmla="*/ 18980 w 21600"/>
              <a:gd name="connsiteY11" fmla="*/ 12844 h 16894"/>
              <a:gd name="connsiteX12" fmla="*/ 21600 w 21600"/>
              <a:gd name="connsiteY12" fmla="*/ 11164 h 16894"/>
              <a:gd name="connsiteX0" fmla="*/ 0 w 21600"/>
              <a:gd name="connsiteY0" fmla="*/ 3349 h 16894"/>
              <a:gd name="connsiteX1" fmla="*/ 835 w 21600"/>
              <a:gd name="connsiteY1" fmla="*/ 6547 h 16894"/>
              <a:gd name="connsiteX2" fmla="*/ 2296 w 21600"/>
              <a:gd name="connsiteY2" fmla="*/ 8977 h 16894"/>
              <a:gd name="connsiteX3" fmla="*/ 3610 w 21600"/>
              <a:gd name="connsiteY3" fmla="*/ 4920 h 16894"/>
              <a:gd name="connsiteX4" fmla="*/ 5185 w 21600"/>
              <a:gd name="connsiteY4" fmla="*/ 3431 h 16894"/>
              <a:gd name="connsiteX5" fmla="*/ 6943 w 21600"/>
              <a:gd name="connsiteY5" fmla="*/ 8460 h 16894"/>
              <a:gd name="connsiteX6" fmla="*/ 10538 w 21600"/>
              <a:gd name="connsiteY6" fmla="*/ 7586 h 16894"/>
              <a:gd name="connsiteX7" fmla="*/ 12744 w 21600"/>
              <a:gd name="connsiteY7" fmla="*/ 13415 h 16894"/>
              <a:gd name="connsiteX8" fmla="*/ 14692 w 21600"/>
              <a:gd name="connsiteY8" fmla="*/ 4923 h 16894"/>
              <a:gd name="connsiteX9" fmla="*/ 16159 w 21600"/>
              <a:gd name="connsiteY9" fmla="*/ 5663 h 16894"/>
              <a:gd name="connsiteX10" fmla="*/ 16846 w 21600"/>
              <a:gd name="connsiteY10" fmla="*/ 707 h 16894"/>
              <a:gd name="connsiteX11" fmla="*/ 18980 w 21600"/>
              <a:gd name="connsiteY11" fmla="*/ 12844 h 16894"/>
              <a:gd name="connsiteX12" fmla="*/ 21600 w 21600"/>
              <a:gd name="connsiteY12" fmla="*/ 11164 h 16894"/>
              <a:gd name="connsiteX0" fmla="*/ 0 w 21600"/>
              <a:gd name="connsiteY0" fmla="*/ 3349 h 16894"/>
              <a:gd name="connsiteX1" fmla="*/ 835 w 21600"/>
              <a:gd name="connsiteY1" fmla="*/ 6547 h 16894"/>
              <a:gd name="connsiteX2" fmla="*/ 2296 w 21600"/>
              <a:gd name="connsiteY2" fmla="*/ 8977 h 16894"/>
              <a:gd name="connsiteX3" fmla="*/ 3610 w 21600"/>
              <a:gd name="connsiteY3" fmla="*/ 4920 h 16894"/>
              <a:gd name="connsiteX4" fmla="*/ 5185 w 21600"/>
              <a:gd name="connsiteY4" fmla="*/ 3431 h 16894"/>
              <a:gd name="connsiteX5" fmla="*/ 6943 w 21600"/>
              <a:gd name="connsiteY5" fmla="*/ 8460 h 16894"/>
              <a:gd name="connsiteX6" fmla="*/ 10538 w 21600"/>
              <a:gd name="connsiteY6" fmla="*/ 7586 h 16894"/>
              <a:gd name="connsiteX7" fmla="*/ 12744 w 21600"/>
              <a:gd name="connsiteY7" fmla="*/ 13415 h 16894"/>
              <a:gd name="connsiteX8" fmla="*/ 14692 w 21600"/>
              <a:gd name="connsiteY8" fmla="*/ 4923 h 16894"/>
              <a:gd name="connsiteX9" fmla="*/ 16159 w 21600"/>
              <a:gd name="connsiteY9" fmla="*/ 5663 h 16894"/>
              <a:gd name="connsiteX10" fmla="*/ 16846 w 21600"/>
              <a:gd name="connsiteY10" fmla="*/ 707 h 16894"/>
              <a:gd name="connsiteX11" fmla="*/ 18980 w 21600"/>
              <a:gd name="connsiteY11" fmla="*/ 12844 h 16894"/>
              <a:gd name="connsiteX12" fmla="*/ 21600 w 21600"/>
              <a:gd name="connsiteY12" fmla="*/ 11164 h 16894"/>
              <a:gd name="connsiteX0" fmla="*/ 0 w 21600"/>
              <a:gd name="connsiteY0" fmla="*/ 3349 h 16894"/>
              <a:gd name="connsiteX1" fmla="*/ 835 w 21600"/>
              <a:gd name="connsiteY1" fmla="*/ 6547 h 16894"/>
              <a:gd name="connsiteX2" fmla="*/ 2296 w 21600"/>
              <a:gd name="connsiteY2" fmla="*/ 8977 h 16894"/>
              <a:gd name="connsiteX3" fmla="*/ 3610 w 21600"/>
              <a:gd name="connsiteY3" fmla="*/ 4920 h 16894"/>
              <a:gd name="connsiteX4" fmla="*/ 5185 w 21600"/>
              <a:gd name="connsiteY4" fmla="*/ 3431 h 16894"/>
              <a:gd name="connsiteX5" fmla="*/ 6943 w 21600"/>
              <a:gd name="connsiteY5" fmla="*/ 8460 h 16894"/>
              <a:gd name="connsiteX6" fmla="*/ 10538 w 21600"/>
              <a:gd name="connsiteY6" fmla="*/ 7586 h 16894"/>
              <a:gd name="connsiteX7" fmla="*/ 12744 w 21600"/>
              <a:gd name="connsiteY7" fmla="*/ 13415 h 16894"/>
              <a:gd name="connsiteX8" fmla="*/ 14692 w 21600"/>
              <a:gd name="connsiteY8" fmla="*/ 4923 h 16894"/>
              <a:gd name="connsiteX9" fmla="*/ 16159 w 21600"/>
              <a:gd name="connsiteY9" fmla="*/ 5663 h 16894"/>
              <a:gd name="connsiteX10" fmla="*/ 16846 w 21600"/>
              <a:gd name="connsiteY10" fmla="*/ 707 h 16894"/>
              <a:gd name="connsiteX11" fmla="*/ 18980 w 21600"/>
              <a:gd name="connsiteY11" fmla="*/ 12844 h 16894"/>
              <a:gd name="connsiteX12" fmla="*/ 21600 w 21600"/>
              <a:gd name="connsiteY12" fmla="*/ 11164 h 16894"/>
              <a:gd name="connsiteX0" fmla="*/ 0 w 21600"/>
              <a:gd name="connsiteY0" fmla="*/ 2772 h 16317"/>
              <a:gd name="connsiteX1" fmla="*/ 835 w 21600"/>
              <a:gd name="connsiteY1" fmla="*/ 5970 h 16317"/>
              <a:gd name="connsiteX2" fmla="*/ 2296 w 21600"/>
              <a:gd name="connsiteY2" fmla="*/ 8400 h 16317"/>
              <a:gd name="connsiteX3" fmla="*/ 3610 w 21600"/>
              <a:gd name="connsiteY3" fmla="*/ 4343 h 16317"/>
              <a:gd name="connsiteX4" fmla="*/ 5185 w 21600"/>
              <a:gd name="connsiteY4" fmla="*/ 2854 h 16317"/>
              <a:gd name="connsiteX5" fmla="*/ 6943 w 21600"/>
              <a:gd name="connsiteY5" fmla="*/ 7883 h 16317"/>
              <a:gd name="connsiteX6" fmla="*/ 10538 w 21600"/>
              <a:gd name="connsiteY6" fmla="*/ 7009 h 16317"/>
              <a:gd name="connsiteX7" fmla="*/ 12744 w 21600"/>
              <a:gd name="connsiteY7" fmla="*/ 12838 h 16317"/>
              <a:gd name="connsiteX8" fmla="*/ 14692 w 21600"/>
              <a:gd name="connsiteY8" fmla="*/ 4346 h 16317"/>
              <a:gd name="connsiteX9" fmla="*/ 16092 w 21600"/>
              <a:gd name="connsiteY9" fmla="*/ 5771 h 16317"/>
              <a:gd name="connsiteX10" fmla="*/ 16846 w 21600"/>
              <a:gd name="connsiteY10" fmla="*/ 130 h 16317"/>
              <a:gd name="connsiteX11" fmla="*/ 18980 w 21600"/>
              <a:gd name="connsiteY11" fmla="*/ 12267 h 16317"/>
              <a:gd name="connsiteX12" fmla="*/ 21600 w 21600"/>
              <a:gd name="connsiteY12" fmla="*/ 10587 h 16317"/>
              <a:gd name="connsiteX0" fmla="*/ 0 w 21600"/>
              <a:gd name="connsiteY0" fmla="*/ 2435 h 15980"/>
              <a:gd name="connsiteX1" fmla="*/ 835 w 21600"/>
              <a:gd name="connsiteY1" fmla="*/ 5633 h 15980"/>
              <a:gd name="connsiteX2" fmla="*/ 2296 w 21600"/>
              <a:gd name="connsiteY2" fmla="*/ 8063 h 15980"/>
              <a:gd name="connsiteX3" fmla="*/ 3610 w 21600"/>
              <a:gd name="connsiteY3" fmla="*/ 4006 h 15980"/>
              <a:gd name="connsiteX4" fmla="*/ 5185 w 21600"/>
              <a:gd name="connsiteY4" fmla="*/ 2517 h 15980"/>
              <a:gd name="connsiteX5" fmla="*/ 6943 w 21600"/>
              <a:gd name="connsiteY5" fmla="*/ 7546 h 15980"/>
              <a:gd name="connsiteX6" fmla="*/ 10538 w 21600"/>
              <a:gd name="connsiteY6" fmla="*/ 6672 h 15980"/>
              <a:gd name="connsiteX7" fmla="*/ 12744 w 21600"/>
              <a:gd name="connsiteY7" fmla="*/ 12501 h 15980"/>
              <a:gd name="connsiteX8" fmla="*/ 14692 w 21600"/>
              <a:gd name="connsiteY8" fmla="*/ 4009 h 15980"/>
              <a:gd name="connsiteX9" fmla="*/ 16092 w 21600"/>
              <a:gd name="connsiteY9" fmla="*/ 5434 h 15980"/>
              <a:gd name="connsiteX10" fmla="*/ 17059 w 21600"/>
              <a:gd name="connsiteY10" fmla="*/ 136 h 15980"/>
              <a:gd name="connsiteX11" fmla="*/ 18980 w 21600"/>
              <a:gd name="connsiteY11" fmla="*/ 11930 h 15980"/>
              <a:gd name="connsiteX12" fmla="*/ 21600 w 21600"/>
              <a:gd name="connsiteY12" fmla="*/ 10250 h 15980"/>
              <a:gd name="connsiteX0" fmla="*/ 0 w 21600"/>
              <a:gd name="connsiteY0" fmla="*/ 2387 h 15932"/>
              <a:gd name="connsiteX1" fmla="*/ 835 w 21600"/>
              <a:gd name="connsiteY1" fmla="*/ 5585 h 15932"/>
              <a:gd name="connsiteX2" fmla="*/ 2296 w 21600"/>
              <a:gd name="connsiteY2" fmla="*/ 8015 h 15932"/>
              <a:gd name="connsiteX3" fmla="*/ 3610 w 21600"/>
              <a:gd name="connsiteY3" fmla="*/ 3958 h 15932"/>
              <a:gd name="connsiteX4" fmla="*/ 5185 w 21600"/>
              <a:gd name="connsiteY4" fmla="*/ 2469 h 15932"/>
              <a:gd name="connsiteX5" fmla="*/ 6943 w 21600"/>
              <a:gd name="connsiteY5" fmla="*/ 7498 h 15932"/>
              <a:gd name="connsiteX6" fmla="*/ 10538 w 21600"/>
              <a:gd name="connsiteY6" fmla="*/ 6624 h 15932"/>
              <a:gd name="connsiteX7" fmla="*/ 12744 w 21600"/>
              <a:gd name="connsiteY7" fmla="*/ 12453 h 15932"/>
              <a:gd name="connsiteX8" fmla="*/ 14692 w 21600"/>
              <a:gd name="connsiteY8" fmla="*/ 3961 h 15932"/>
              <a:gd name="connsiteX9" fmla="*/ 16092 w 21600"/>
              <a:gd name="connsiteY9" fmla="*/ 5386 h 15932"/>
              <a:gd name="connsiteX10" fmla="*/ 17059 w 21600"/>
              <a:gd name="connsiteY10" fmla="*/ 88 h 15932"/>
              <a:gd name="connsiteX11" fmla="*/ 18980 w 21600"/>
              <a:gd name="connsiteY11" fmla="*/ 11882 h 15932"/>
              <a:gd name="connsiteX12" fmla="*/ 21600 w 21600"/>
              <a:gd name="connsiteY12" fmla="*/ 10202 h 15932"/>
              <a:gd name="connsiteX0" fmla="*/ 0 w 21600"/>
              <a:gd name="connsiteY0" fmla="*/ 2303 h 15848"/>
              <a:gd name="connsiteX1" fmla="*/ 835 w 21600"/>
              <a:gd name="connsiteY1" fmla="*/ 5501 h 15848"/>
              <a:gd name="connsiteX2" fmla="*/ 2296 w 21600"/>
              <a:gd name="connsiteY2" fmla="*/ 7931 h 15848"/>
              <a:gd name="connsiteX3" fmla="*/ 3610 w 21600"/>
              <a:gd name="connsiteY3" fmla="*/ 3874 h 15848"/>
              <a:gd name="connsiteX4" fmla="*/ 5185 w 21600"/>
              <a:gd name="connsiteY4" fmla="*/ 2385 h 15848"/>
              <a:gd name="connsiteX5" fmla="*/ 6943 w 21600"/>
              <a:gd name="connsiteY5" fmla="*/ 7414 h 15848"/>
              <a:gd name="connsiteX6" fmla="*/ 10538 w 21600"/>
              <a:gd name="connsiteY6" fmla="*/ 6540 h 15848"/>
              <a:gd name="connsiteX7" fmla="*/ 12744 w 21600"/>
              <a:gd name="connsiteY7" fmla="*/ 12369 h 15848"/>
              <a:gd name="connsiteX8" fmla="*/ 14692 w 21600"/>
              <a:gd name="connsiteY8" fmla="*/ 3877 h 15848"/>
              <a:gd name="connsiteX9" fmla="*/ 16092 w 21600"/>
              <a:gd name="connsiteY9" fmla="*/ 5302 h 15848"/>
              <a:gd name="connsiteX10" fmla="*/ 17059 w 21600"/>
              <a:gd name="connsiteY10" fmla="*/ 4 h 15848"/>
              <a:gd name="connsiteX11" fmla="*/ 18980 w 21600"/>
              <a:gd name="connsiteY11" fmla="*/ 11798 h 15848"/>
              <a:gd name="connsiteX12" fmla="*/ 21600 w 21600"/>
              <a:gd name="connsiteY12" fmla="*/ 10118 h 15848"/>
              <a:gd name="connsiteX0" fmla="*/ 0 w 21600"/>
              <a:gd name="connsiteY0" fmla="*/ 2303 h 15848"/>
              <a:gd name="connsiteX1" fmla="*/ 835 w 21600"/>
              <a:gd name="connsiteY1" fmla="*/ 5501 h 15848"/>
              <a:gd name="connsiteX2" fmla="*/ 2296 w 21600"/>
              <a:gd name="connsiteY2" fmla="*/ 7931 h 15848"/>
              <a:gd name="connsiteX3" fmla="*/ 3610 w 21600"/>
              <a:gd name="connsiteY3" fmla="*/ 3874 h 15848"/>
              <a:gd name="connsiteX4" fmla="*/ 5185 w 21600"/>
              <a:gd name="connsiteY4" fmla="*/ 2385 h 15848"/>
              <a:gd name="connsiteX5" fmla="*/ 6943 w 21600"/>
              <a:gd name="connsiteY5" fmla="*/ 7414 h 15848"/>
              <a:gd name="connsiteX6" fmla="*/ 10538 w 21600"/>
              <a:gd name="connsiteY6" fmla="*/ 6540 h 15848"/>
              <a:gd name="connsiteX7" fmla="*/ 12744 w 21600"/>
              <a:gd name="connsiteY7" fmla="*/ 12369 h 15848"/>
              <a:gd name="connsiteX8" fmla="*/ 14692 w 21600"/>
              <a:gd name="connsiteY8" fmla="*/ 3877 h 15848"/>
              <a:gd name="connsiteX9" fmla="*/ 16092 w 21600"/>
              <a:gd name="connsiteY9" fmla="*/ 5302 h 15848"/>
              <a:gd name="connsiteX10" fmla="*/ 17059 w 21600"/>
              <a:gd name="connsiteY10" fmla="*/ 4 h 15848"/>
              <a:gd name="connsiteX11" fmla="*/ 18980 w 21600"/>
              <a:gd name="connsiteY11" fmla="*/ 11798 h 15848"/>
              <a:gd name="connsiteX12" fmla="*/ 21600 w 21600"/>
              <a:gd name="connsiteY12" fmla="*/ 10118 h 15848"/>
              <a:gd name="connsiteX0" fmla="*/ 0 w 21600"/>
              <a:gd name="connsiteY0" fmla="*/ 2303 h 15848"/>
              <a:gd name="connsiteX1" fmla="*/ 835 w 21600"/>
              <a:gd name="connsiteY1" fmla="*/ 5501 h 15848"/>
              <a:gd name="connsiteX2" fmla="*/ 2296 w 21600"/>
              <a:gd name="connsiteY2" fmla="*/ 7931 h 15848"/>
              <a:gd name="connsiteX3" fmla="*/ 3610 w 21600"/>
              <a:gd name="connsiteY3" fmla="*/ 3874 h 15848"/>
              <a:gd name="connsiteX4" fmla="*/ 5185 w 21600"/>
              <a:gd name="connsiteY4" fmla="*/ 2385 h 15848"/>
              <a:gd name="connsiteX5" fmla="*/ 6943 w 21600"/>
              <a:gd name="connsiteY5" fmla="*/ 7414 h 15848"/>
              <a:gd name="connsiteX6" fmla="*/ 10538 w 21600"/>
              <a:gd name="connsiteY6" fmla="*/ 6540 h 15848"/>
              <a:gd name="connsiteX7" fmla="*/ 12744 w 21600"/>
              <a:gd name="connsiteY7" fmla="*/ 12369 h 15848"/>
              <a:gd name="connsiteX8" fmla="*/ 14826 w 21600"/>
              <a:gd name="connsiteY8" fmla="*/ 3363 h 15848"/>
              <a:gd name="connsiteX9" fmla="*/ 16092 w 21600"/>
              <a:gd name="connsiteY9" fmla="*/ 5302 h 15848"/>
              <a:gd name="connsiteX10" fmla="*/ 17059 w 21600"/>
              <a:gd name="connsiteY10" fmla="*/ 4 h 15848"/>
              <a:gd name="connsiteX11" fmla="*/ 18980 w 21600"/>
              <a:gd name="connsiteY11" fmla="*/ 11798 h 15848"/>
              <a:gd name="connsiteX12" fmla="*/ 21600 w 21600"/>
              <a:gd name="connsiteY12" fmla="*/ 10118 h 15848"/>
              <a:gd name="connsiteX0" fmla="*/ 0 w 21600"/>
              <a:gd name="connsiteY0" fmla="*/ 2303 h 15848"/>
              <a:gd name="connsiteX1" fmla="*/ 835 w 21600"/>
              <a:gd name="connsiteY1" fmla="*/ 5501 h 15848"/>
              <a:gd name="connsiteX2" fmla="*/ 2296 w 21600"/>
              <a:gd name="connsiteY2" fmla="*/ 7931 h 15848"/>
              <a:gd name="connsiteX3" fmla="*/ 3610 w 21600"/>
              <a:gd name="connsiteY3" fmla="*/ 3874 h 15848"/>
              <a:gd name="connsiteX4" fmla="*/ 5185 w 21600"/>
              <a:gd name="connsiteY4" fmla="*/ 2385 h 15848"/>
              <a:gd name="connsiteX5" fmla="*/ 6943 w 21600"/>
              <a:gd name="connsiteY5" fmla="*/ 7414 h 15848"/>
              <a:gd name="connsiteX6" fmla="*/ 10538 w 21600"/>
              <a:gd name="connsiteY6" fmla="*/ 6540 h 15848"/>
              <a:gd name="connsiteX7" fmla="*/ 12744 w 21600"/>
              <a:gd name="connsiteY7" fmla="*/ 12369 h 15848"/>
              <a:gd name="connsiteX8" fmla="*/ 14826 w 21600"/>
              <a:gd name="connsiteY8" fmla="*/ 3363 h 15848"/>
              <a:gd name="connsiteX9" fmla="*/ 16092 w 21600"/>
              <a:gd name="connsiteY9" fmla="*/ 5302 h 15848"/>
              <a:gd name="connsiteX10" fmla="*/ 17059 w 21600"/>
              <a:gd name="connsiteY10" fmla="*/ 4 h 15848"/>
              <a:gd name="connsiteX11" fmla="*/ 18980 w 21600"/>
              <a:gd name="connsiteY11" fmla="*/ 11798 h 15848"/>
              <a:gd name="connsiteX12" fmla="*/ 21600 w 21600"/>
              <a:gd name="connsiteY12" fmla="*/ 10118 h 15848"/>
              <a:gd name="connsiteX0" fmla="*/ 0 w 21600"/>
              <a:gd name="connsiteY0" fmla="*/ 2458 h 16003"/>
              <a:gd name="connsiteX1" fmla="*/ 835 w 21600"/>
              <a:gd name="connsiteY1" fmla="*/ 5656 h 16003"/>
              <a:gd name="connsiteX2" fmla="*/ 2296 w 21600"/>
              <a:gd name="connsiteY2" fmla="*/ 8086 h 16003"/>
              <a:gd name="connsiteX3" fmla="*/ 3610 w 21600"/>
              <a:gd name="connsiteY3" fmla="*/ 4029 h 16003"/>
              <a:gd name="connsiteX4" fmla="*/ 5185 w 21600"/>
              <a:gd name="connsiteY4" fmla="*/ 141 h 16003"/>
              <a:gd name="connsiteX5" fmla="*/ 6943 w 21600"/>
              <a:gd name="connsiteY5" fmla="*/ 7569 h 16003"/>
              <a:gd name="connsiteX6" fmla="*/ 10538 w 21600"/>
              <a:gd name="connsiteY6" fmla="*/ 6695 h 16003"/>
              <a:gd name="connsiteX7" fmla="*/ 12744 w 21600"/>
              <a:gd name="connsiteY7" fmla="*/ 12524 h 16003"/>
              <a:gd name="connsiteX8" fmla="*/ 14826 w 21600"/>
              <a:gd name="connsiteY8" fmla="*/ 3518 h 16003"/>
              <a:gd name="connsiteX9" fmla="*/ 16092 w 21600"/>
              <a:gd name="connsiteY9" fmla="*/ 5457 h 16003"/>
              <a:gd name="connsiteX10" fmla="*/ 17059 w 21600"/>
              <a:gd name="connsiteY10" fmla="*/ 159 h 16003"/>
              <a:gd name="connsiteX11" fmla="*/ 18980 w 21600"/>
              <a:gd name="connsiteY11" fmla="*/ 11953 h 16003"/>
              <a:gd name="connsiteX12" fmla="*/ 21600 w 21600"/>
              <a:gd name="connsiteY12" fmla="*/ 10273 h 16003"/>
              <a:gd name="connsiteX0" fmla="*/ 0 w 21600"/>
              <a:gd name="connsiteY0" fmla="*/ 2452 h 15997"/>
              <a:gd name="connsiteX1" fmla="*/ 835 w 21600"/>
              <a:gd name="connsiteY1" fmla="*/ 5650 h 15997"/>
              <a:gd name="connsiteX2" fmla="*/ 2296 w 21600"/>
              <a:gd name="connsiteY2" fmla="*/ 8080 h 15997"/>
              <a:gd name="connsiteX3" fmla="*/ 3621 w 21600"/>
              <a:gd name="connsiteY3" fmla="*/ 3166 h 15997"/>
              <a:gd name="connsiteX4" fmla="*/ 5185 w 21600"/>
              <a:gd name="connsiteY4" fmla="*/ 135 h 15997"/>
              <a:gd name="connsiteX5" fmla="*/ 6943 w 21600"/>
              <a:gd name="connsiteY5" fmla="*/ 7563 h 15997"/>
              <a:gd name="connsiteX6" fmla="*/ 10538 w 21600"/>
              <a:gd name="connsiteY6" fmla="*/ 6689 h 15997"/>
              <a:gd name="connsiteX7" fmla="*/ 12744 w 21600"/>
              <a:gd name="connsiteY7" fmla="*/ 12518 h 15997"/>
              <a:gd name="connsiteX8" fmla="*/ 14826 w 21600"/>
              <a:gd name="connsiteY8" fmla="*/ 3512 h 15997"/>
              <a:gd name="connsiteX9" fmla="*/ 16092 w 21600"/>
              <a:gd name="connsiteY9" fmla="*/ 5451 h 15997"/>
              <a:gd name="connsiteX10" fmla="*/ 17059 w 21600"/>
              <a:gd name="connsiteY10" fmla="*/ 153 h 15997"/>
              <a:gd name="connsiteX11" fmla="*/ 18980 w 21600"/>
              <a:gd name="connsiteY11" fmla="*/ 11947 h 15997"/>
              <a:gd name="connsiteX12" fmla="*/ 21600 w 21600"/>
              <a:gd name="connsiteY12" fmla="*/ 10267 h 15997"/>
              <a:gd name="connsiteX0" fmla="*/ 0 w 21600"/>
              <a:gd name="connsiteY0" fmla="*/ 2525 h 16070"/>
              <a:gd name="connsiteX1" fmla="*/ 835 w 21600"/>
              <a:gd name="connsiteY1" fmla="*/ 5723 h 16070"/>
              <a:gd name="connsiteX2" fmla="*/ 2296 w 21600"/>
              <a:gd name="connsiteY2" fmla="*/ 8153 h 16070"/>
              <a:gd name="connsiteX3" fmla="*/ 3621 w 21600"/>
              <a:gd name="connsiteY3" fmla="*/ 3239 h 16070"/>
              <a:gd name="connsiteX4" fmla="*/ 5185 w 21600"/>
              <a:gd name="connsiteY4" fmla="*/ 208 h 16070"/>
              <a:gd name="connsiteX5" fmla="*/ 6943 w 21600"/>
              <a:gd name="connsiteY5" fmla="*/ 7636 h 16070"/>
              <a:gd name="connsiteX6" fmla="*/ 10538 w 21600"/>
              <a:gd name="connsiteY6" fmla="*/ 6762 h 16070"/>
              <a:gd name="connsiteX7" fmla="*/ 12744 w 21600"/>
              <a:gd name="connsiteY7" fmla="*/ 12591 h 16070"/>
              <a:gd name="connsiteX8" fmla="*/ 14826 w 21600"/>
              <a:gd name="connsiteY8" fmla="*/ 3585 h 16070"/>
              <a:gd name="connsiteX9" fmla="*/ 16092 w 21600"/>
              <a:gd name="connsiteY9" fmla="*/ 5524 h 16070"/>
              <a:gd name="connsiteX10" fmla="*/ 17059 w 21600"/>
              <a:gd name="connsiteY10" fmla="*/ 226 h 16070"/>
              <a:gd name="connsiteX11" fmla="*/ 18980 w 21600"/>
              <a:gd name="connsiteY11" fmla="*/ 12020 h 16070"/>
              <a:gd name="connsiteX12" fmla="*/ 21600 w 21600"/>
              <a:gd name="connsiteY12" fmla="*/ 10340 h 16070"/>
              <a:gd name="connsiteX0" fmla="*/ 0 w 21600"/>
              <a:gd name="connsiteY0" fmla="*/ 2728 h 16273"/>
              <a:gd name="connsiteX1" fmla="*/ 835 w 21600"/>
              <a:gd name="connsiteY1" fmla="*/ 5926 h 16273"/>
              <a:gd name="connsiteX2" fmla="*/ 2296 w 21600"/>
              <a:gd name="connsiteY2" fmla="*/ 8356 h 16273"/>
              <a:gd name="connsiteX3" fmla="*/ 3621 w 21600"/>
              <a:gd name="connsiteY3" fmla="*/ 3442 h 16273"/>
              <a:gd name="connsiteX4" fmla="*/ 5185 w 21600"/>
              <a:gd name="connsiteY4" fmla="*/ 411 h 16273"/>
              <a:gd name="connsiteX5" fmla="*/ 6943 w 21600"/>
              <a:gd name="connsiteY5" fmla="*/ 7839 h 16273"/>
              <a:gd name="connsiteX6" fmla="*/ 10538 w 21600"/>
              <a:gd name="connsiteY6" fmla="*/ 6965 h 16273"/>
              <a:gd name="connsiteX7" fmla="*/ 12744 w 21600"/>
              <a:gd name="connsiteY7" fmla="*/ 12794 h 16273"/>
              <a:gd name="connsiteX8" fmla="*/ 14826 w 21600"/>
              <a:gd name="connsiteY8" fmla="*/ 3788 h 16273"/>
              <a:gd name="connsiteX9" fmla="*/ 16092 w 21600"/>
              <a:gd name="connsiteY9" fmla="*/ 5727 h 16273"/>
              <a:gd name="connsiteX10" fmla="*/ 17059 w 21600"/>
              <a:gd name="connsiteY10" fmla="*/ 429 h 16273"/>
              <a:gd name="connsiteX11" fmla="*/ 18980 w 21600"/>
              <a:gd name="connsiteY11" fmla="*/ 12223 h 16273"/>
              <a:gd name="connsiteX12" fmla="*/ 21600 w 21600"/>
              <a:gd name="connsiteY12" fmla="*/ 10543 h 16273"/>
              <a:gd name="connsiteX0" fmla="*/ 0 w 21600"/>
              <a:gd name="connsiteY0" fmla="*/ 2728 h 16273"/>
              <a:gd name="connsiteX1" fmla="*/ 869 w 21600"/>
              <a:gd name="connsiteY1" fmla="*/ 8154 h 16273"/>
              <a:gd name="connsiteX2" fmla="*/ 2296 w 21600"/>
              <a:gd name="connsiteY2" fmla="*/ 8356 h 16273"/>
              <a:gd name="connsiteX3" fmla="*/ 3621 w 21600"/>
              <a:gd name="connsiteY3" fmla="*/ 3442 h 16273"/>
              <a:gd name="connsiteX4" fmla="*/ 5185 w 21600"/>
              <a:gd name="connsiteY4" fmla="*/ 411 h 16273"/>
              <a:gd name="connsiteX5" fmla="*/ 6943 w 21600"/>
              <a:gd name="connsiteY5" fmla="*/ 7839 h 16273"/>
              <a:gd name="connsiteX6" fmla="*/ 10538 w 21600"/>
              <a:gd name="connsiteY6" fmla="*/ 6965 h 16273"/>
              <a:gd name="connsiteX7" fmla="*/ 12744 w 21600"/>
              <a:gd name="connsiteY7" fmla="*/ 12794 h 16273"/>
              <a:gd name="connsiteX8" fmla="*/ 14826 w 21600"/>
              <a:gd name="connsiteY8" fmla="*/ 3788 h 16273"/>
              <a:gd name="connsiteX9" fmla="*/ 16092 w 21600"/>
              <a:gd name="connsiteY9" fmla="*/ 5727 h 16273"/>
              <a:gd name="connsiteX10" fmla="*/ 17059 w 21600"/>
              <a:gd name="connsiteY10" fmla="*/ 429 h 16273"/>
              <a:gd name="connsiteX11" fmla="*/ 18980 w 21600"/>
              <a:gd name="connsiteY11" fmla="*/ 12223 h 16273"/>
              <a:gd name="connsiteX12" fmla="*/ 21600 w 21600"/>
              <a:gd name="connsiteY12" fmla="*/ 10543 h 16273"/>
              <a:gd name="connsiteX0" fmla="*/ 0 w 21578"/>
              <a:gd name="connsiteY0" fmla="*/ 4784 h 16273"/>
              <a:gd name="connsiteX1" fmla="*/ 847 w 21578"/>
              <a:gd name="connsiteY1" fmla="*/ 8154 h 16273"/>
              <a:gd name="connsiteX2" fmla="*/ 2274 w 21578"/>
              <a:gd name="connsiteY2" fmla="*/ 8356 h 16273"/>
              <a:gd name="connsiteX3" fmla="*/ 3599 w 21578"/>
              <a:gd name="connsiteY3" fmla="*/ 3442 h 16273"/>
              <a:gd name="connsiteX4" fmla="*/ 5163 w 21578"/>
              <a:gd name="connsiteY4" fmla="*/ 411 h 16273"/>
              <a:gd name="connsiteX5" fmla="*/ 6921 w 21578"/>
              <a:gd name="connsiteY5" fmla="*/ 7839 h 16273"/>
              <a:gd name="connsiteX6" fmla="*/ 10516 w 21578"/>
              <a:gd name="connsiteY6" fmla="*/ 6965 h 16273"/>
              <a:gd name="connsiteX7" fmla="*/ 12722 w 21578"/>
              <a:gd name="connsiteY7" fmla="*/ 12794 h 16273"/>
              <a:gd name="connsiteX8" fmla="*/ 14804 w 21578"/>
              <a:gd name="connsiteY8" fmla="*/ 3788 h 16273"/>
              <a:gd name="connsiteX9" fmla="*/ 16070 w 21578"/>
              <a:gd name="connsiteY9" fmla="*/ 5727 h 16273"/>
              <a:gd name="connsiteX10" fmla="*/ 17037 w 21578"/>
              <a:gd name="connsiteY10" fmla="*/ 429 h 16273"/>
              <a:gd name="connsiteX11" fmla="*/ 18958 w 21578"/>
              <a:gd name="connsiteY11" fmla="*/ 12223 h 16273"/>
              <a:gd name="connsiteX12" fmla="*/ 21578 w 21578"/>
              <a:gd name="connsiteY12" fmla="*/ 10543 h 16273"/>
              <a:gd name="connsiteX0" fmla="*/ 0 w 21578"/>
              <a:gd name="connsiteY0" fmla="*/ 4817 h 16306"/>
              <a:gd name="connsiteX1" fmla="*/ 847 w 21578"/>
              <a:gd name="connsiteY1" fmla="*/ 8187 h 16306"/>
              <a:gd name="connsiteX2" fmla="*/ 2274 w 21578"/>
              <a:gd name="connsiteY2" fmla="*/ 8389 h 16306"/>
              <a:gd name="connsiteX3" fmla="*/ 3599 w 21578"/>
              <a:gd name="connsiteY3" fmla="*/ 3475 h 16306"/>
              <a:gd name="connsiteX4" fmla="*/ 5163 w 21578"/>
              <a:gd name="connsiteY4" fmla="*/ 444 h 16306"/>
              <a:gd name="connsiteX5" fmla="*/ 6921 w 21578"/>
              <a:gd name="connsiteY5" fmla="*/ 7872 h 16306"/>
              <a:gd name="connsiteX6" fmla="*/ 10516 w 21578"/>
              <a:gd name="connsiteY6" fmla="*/ 6998 h 16306"/>
              <a:gd name="connsiteX7" fmla="*/ 12722 w 21578"/>
              <a:gd name="connsiteY7" fmla="*/ 12827 h 16306"/>
              <a:gd name="connsiteX8" fmla="*/ 14804 w 21578"/>
              <a:gd name="connsiteY8" fmla="*/ 3821 h 16306"/>
              <a:gd name="connsiteX9" fmla="*/ 16070 w 21578"/>
              <a:gd name="connsiteY9" fmla="*/ 5760 h 16306"/>
              <a:gd name="connsiteX10" fmla="*/ 17037 w 21578"/>
              <a:gd name="connsiteY10" fmla="*/ 462 h 16306"/>
              <a:gd name="connsiteX11" fmla="*/ 18958 w 21578"/>
              <a:gd name="connsiteY11" fmla="*/ 12256 h 16306"/>
              <a:gd name="connsiteX12" fmla="*/ 21578 w 21578"/>
              <a:gd name="connsiteY12" fmla="*/ 10576 h 16306"/>
              <a:gd name="connsiteX0" fmla="*/ 0 w 21578"/>
              <a:gd name="connsiteY0" fmla="*/ 4817 h 16306"/>
              <a:gd name="connsiteX1" fmla="*/ 847 w 21578"/>
              <a:gd name="connsiteY1" fmla="*/ 8187 h 16306"/>
              <a:gd name="connsiteX2" fmla="*/ 2274 w 21578"/>
              <a:gd name="connsiteY2" fmla="*/ 8389 h 16306"/>
              <a:gd name="connsiteX3" fmla="*/ 3599 w 21578"/>
              <a:gd name="connsiteY3" fmla="*/ 3475 h 16306"/>
              <a:gd name="connsiteX4" fmla="*/ 5163 w 21578"/>
              <a:gd name="connsiteY4" fmla="*/ 444 h 16306"/>
              <a:gd name="connsiteX5" fmla="*/ 6921 w 21578"/>
              <a:gd name="connsiteY5" fmla="*/ 7872 h 16306"/>
              <a:gd name="connsiteX6" fmla="*/ 10516 w 21578"/>
              <a:gd name="connsiteY6" fmla="*/ 6998 h 16306"/>
              <a:gd name="connsiteX7" fmla="*/ 12722 w 21578"/>
              <a:gd name="connsiteY7" fmla="*/ 12827 h 16306"/>
              <a:gd name="connsiteX8" fmla="*/ 14804 w 21578"/>
              <a:gd name="connsiteY8" fmla="*/ 3821 h 16306"/>
              <a:gd name="connsiteX9" fmla="*/ 16070 w 21578"/>
              <a:gd name="connsiteY9" fmla="*/ 5760 h 16306"/>
              <a:gd name="connsiteX10" fmla="*/ 17037 w 21578"/>
              <a:gd name="connsiteY10" fmla="*/ 462 h 16306"/>
              <a:gd name="connsiteX11" fmla="*/ 18958 w 21578"/>
              <a:gd name="connsiteY11" fmla="*/ 12256 h 16306"/>
              <a:gd name="connsiteX12" fmla="*/ 21578 w 21578"/>
              <a:gd name="connsiteY12" fmla="*/ 10576 h 16306"/>
              <a:gd name="connsiteX0" fmla="*/ 0 w 21578"/>
              <a:gd name="connsiteY0" fmla="*/ 4817 h 16306"/>
              <a:gd name="connsiteX1" fmla="*/ 847 w 21578"/>
              <a:gd name="connsiteY1" fmla="*/ 8187 h 16306"/>
              <a:gd name="connsiteX2" fmla="*/ 2274 w 21578"/>
              <a:gd name="connsiteY2" fmla="*/ 8389 h 16306"/>
              <a:gd name="connsiteX3" fmla="*/ 3599 w 21578"/>
              <a:gd name="connsiteY3" fmla="*/ 3475 h 16306"/>
              <a:gd name="connsiteX4" fmla="*/ 5163 w 21578"/>
              <a:gd name="connsiteY4" fmla="*/ 444 h 16306"/>
              <a:gd name="connsiteX5" fmla="*/ 6921 w 21578"/>
              <a:gd name="connsiteY5" fmla="*/ 7872 h 16306"/>
              <a:gd name="connsiteX6" fmla="*/ 10516 w 21578"/>
              <a:gd name="connsiteY6" fmla="*/ 6998 h 16306"/>
              <a:gd name="connsiteX7" fmla="*/ 12722 w 21578"/>
              <a:gd name="connsiteY7" fmla="*/ 12827 h 16306"/>
              <a:gd name="connsiteX8" fmla="*/ 14804 w 21578"/>
              <a:gd name="connsiteY8" fmla="*/ 3821 h 16306"/>
              <a:gd name="connsiteX9" fmla="*/ 16003 w 21578"/>
              <a:gd name="connsiteY9" fmla="*/ 5589 h 16306"/>
              <a:gd name="connsiteX10" fmla="*/ 17037 w 21578"/>
              <a:gd name="connsiteY10" fmla="*/ 462 h 16306"/>
              <a:gd name="connsiteX11" fmla="*/ 18958 w 21578"/>
              <a:gd name="connsiteY11" fmla="*/ 12256 h 16306"/>
              <a:gd name="connsiteX12" fmla="*/ 21578 w 21578"/>
              <a:gd name="connsiteY12" fmla="*/ 10576 h 16306"/>
              <a:gd name="connsiteX0" fmla="*/ 0 w 21578"/>
              <a:gd name="connsiteY0" fmla="*/ 4817 h 16306"/>
              <a:gd name="connsiteX1" fmla="*/ 847 w 21578"/>
              <a:gd name="connsiteY1" fmla="*/ 8187 h 16306"/>
              <a:gd name="connsiteX2" fmla="*/ 2274 w 21578"/>
              <a:gd name="connsiteY2" fmla="*/ 8389 h 16306"/>
              <a:gd name="connsiteX3" fmla="*/ 3599 w 21578"/>
              <a:gd name="connsiteY3" fmla="*/ 3475 h 16306"/>
              <a:gd name="connsiteX4" fmla="*/ 5163 w 21578"/>
              <a:gd name="connsiteY4" fmla="*/ 444 h 16306"/>
              <a:gd name="connsiteX5" fmla="*/ 6921 w 21578"/>
              <a:gd name="connsiteY5" fmla="*/ 7872 h 16306"/>
              <a:gd name="connsiteX6" fmla="*/ 10516 w 21578"/>
              <a:gd name="connsiteY6" fmla="*/ 6998 h 16306"/>
              <a:gd name="connsiteX7" fmla="*/ 12722 w 21578"/>
              <a:gd name="connsiteY7" fmla="*/ 12827 h 16306"/>
              <a:gd name="connsiteX8" fmla="*/ 14804 w 21578"/>
              <a:gd name="connsiteY8" fmla="*/ 3821 h 16306"/>
              <a:gd name="connsiteX9" fmla="*/ 16003 w 21578"/>
              <a:gd name="connsiteY9" fmla="*/ 5589 h 16306"/>
              <a:gd name="connsiteX10" fmla="*/ 17183 w 21578"/>
              <a:gd name="connsiteY10" fmla="*/ 2004 h 16306"/>
              <a:gd name="connsiteX11" fmla="*/ 18958 w 21578"/>
              <a:gd name="connsiteY11" fmla="*/ 12256 h 16306"/>
              <a:gd name="connsiteX12" fmla="*/ 21578 w 21578"/>
              <a:gd name="connsiteY12" fmla="*/ 10576 h 16306"/>
              <a:gd name="connsiteX0" fmla="*/ 0 w 21578"/>
              <a:gd name="connsiteY0" fmla="*/ 4817 h 16306"/>
              <a:gd name="connsiteX1" fmla="*/ 847 w 21578"/>
              <a:gd name="connsiteY1" fmla="*/ 8187 h 16306"/>
              <a:gd name="connsiteX2" fmla="*/ 2274 w 21578"/>
              <a:gd name="connsiteY2" fmla="*/ 8389 h 16306"/>
              <a:gd name="connsiteX3" fmla="*/ 3599 w 21578"/>
              <a:gd name="connsiteY3" fmla="*/ 3475 h 16306"/>
              <a:gd name="connsiteX4" fmla="*/ 5163 w 21578"/>
              <a:gd name="connsiteY4" fmla="*/ 444 h 16306"/>
              <a:gd name="connsiteX5" fmla="*/ 6921 w 21578"/>
              <a:gd name="connsiteY5" fmla="*/ 7872 h 16306"/>
              <a:gd name="connsiteX6" fmla="*/ 10535 w 21578"/>
              <a:gd name="connsiteY6" fmla="*/ 925 h 16306"/>
              <a:gd name="connsiteX7" fmla="*/ 12722 w 21578"/>
              <a:gd name="connsiteY7" fmla="*/ 12827 h 16306"/>
              <a:gd name="connsiteX8" fmla="*/ 14804 w 21578"/>
              <a:gd name="connsiteY8" fmla="*/ 3821 h 16306"/>
              <a:gd name="connsiteX9" fmla="*/ 16003 w 21578"/>
              <a:gd name="connsiteY9" fmla="*/ 5589 h 16306"/>
              <a:gd name="connsiteX10" fmla="*/ 17183 w 21578"/>
              <a:gd name="connsiteY10" fmla="*/ 2004 h 16306"/>
              <a:gd name="connsiteX11" fmla="*/ 18958 w 21578"/>
              <a:gd name="connsiteY11" fmla="*/ 12256 h 16306"/>
              <a:gd name="connsiteX12" fmla="*/ 21578 w 21578"/>
              <a:gd name="connsiteY12" fmla="*/ 10576 h 16306"/>
              <a:gd name="connsiteX0" fmla="*/ 0 w 21578"/>
              <a:gd name="connsiteY0" fmla="*/ 9288 h 20777"/>
              <a:gd name="connsiteX1" fmla="*/ 847 w 21578"/>
              <a:gd name="connsiteY1" fmla="*/ 12658 h 20777"/>
              <a:gd name="connsiteX2" fmla="*/ 2274 w 21578"/>
              <a:gd name="connsiteY2" fmla="*/ 12860 h 20777"/>
              <a:gd name="connsiteX3" fmla="*/ 3599 w 21578"/>
              <a:gd name="connsiteY3" fmla="*/ 7946 h 20777"/>
              <a:gd name="connsiteX4" fmla="*/ 5163 w 21578"/>
              <a:gd name="connsiteY4" fmla="*/ 4915 h 20777"/>
              <a:gd name="connsiteX5" fmla="*/ 6921 w 21578"/>
              <a:gd name="connsiteY5" fmla="*/ 12343 h 20777"/>
              <a:gd name="connsiteX6" fmla="*/ 10535 w 21578"/>
              <a:gd name="connsiteY6" fmla="*/ 5396 h 20777"/>
              <a:gd name="connsiteX7" fmla="*/ 12722 w 21578"/>
              <a:gd name="connsiteY7" fmla="*/ 17298 h 20777"/>
              <a:gd name="connsiteX8" fmla="*/ 14804 w 21578"/>
              <a:gd name="connsiteY8" fmla="*/ 8292 h 20777"/>
              <a:gd name="connsiteX9" fmla="*/ 16216 w 21578"/>
              <a:gd name="connsiteY9" fmla="*/ 16 h 20777"/>
              <a:gd name="connsiteX10" fmla="*/ 17183 w 21578"/>
              <a:gd name="connsiteY10" fmla="*/ 6475 h 20777"/>
              <a:gd name="connsiteX11" fmla="*/ 18958 w 21578"/>
              <a:gd name="connsiteY11" fmla="*/ 16727 h 20777"/>
              <a:gd name="connsiteX12" fmla="*/ 21578 w 21578"/>
              <a:gd name="connsiteY12" fmla="*/ 15047 h 20777"/>
              <a:gd name="connsiteX0" fmla="*/ 0 w 21578"/>
              <a:gd name="connsiteY0" fmla="*/ 9360 h 20849"/>
              <a:gd name="connsiteX1" fmla="*/ 847 w 21578"/>
              <a:gd name="connsiteY1" fmla="*/ 12730 h 20849"/>
              <a:gd name="connsiteX2" fmla="*/ 2274 w 21578"/>
              <a:gd name="connsiteY2" fmla="*/ 12932 h 20849"/>
              <a:gd name="connsiteX3" fmla="*/ 3599 w 21578"/>
              <a:gd name="connsiteY3" fmla="*/ 8018 h 20849"/>
              <a:gd name="connsiteX4" fmla="*/ 5163 w 21578"/>
              <a:gd name="connsiteY4" fmla="*/ 4987 h 20849"/>
              <a:gd name="connsiteX5" fmla="*/ 6921 w 21578"/>
              <a:gd name="connsiteY5" fmla="*/ 12415 h 20849"/>
              <a:gd name="connsiteX6" fmla="*/ 10535 w 21578"/>
              <a:gd name="connsiteY6" fmla="*/ 5468 h 20849"/>
              <a:gd name="connsiteX7" fmla="*/ 12722 w 21578"/>
              <a:gd name="connsiteY7" fmla="*/ 17370 h 20849"/>
              <a:gd name="connsiteX8" fmla="*/ 14804 w 21578"/>
              <a:gd name="connsiteY8" fmla="*/ 8364 h 20849"/>
              <a:gd name="connsiteX9" fmla="*/ 16216 w 21578"/>
              <a:gd name="connsiteY9" fmla="*/ 88 h 20849"/>
              <a:gd name="connsiteX10" fmla="*/ 17183 w 21578"/>
              <a:gd name="connsiteY10" fmla="*/ 6547 h 20849"/>
              <a:gd name="connsiteX11" fmla="*/ 18958 w 21578"/>
              <a:gd name="connsiteY11" fmla="*/ 16799 h 20849"/>
              <a:gd name="connsiteX12" fmla="*/ 21578 w 21578"/>
              <a:gd name="connsiteY12" fmla="*/ 15119 h 20849"/>
              <a:gd name="connsiteX0" fmla="*/ 0 w 21578"/>
              <a:gd name="connsiteY0" fmla="*/ 9346 h 20835"/>
              <a:gd name="connsiteX1" fmla="*/ 847 w 21578"/>
              <a:gd name="connsiteY1" fmla="*/ 12716 h 20835"/>
              <a:gd name="connsiteX2" fmla="*/ 2274 w 21578"/>
              <a:gd name="connsiteY2" fmla="*/ 12918 h 20835"/>
              <a:gd name="connsiteX3" fmla="*/ 3599 w 21578"/>
              <a:gd name="connsiteY3" fmla="*/ 8004 h 20835"/>
              <a:gd name="connsiteX4" fmla="*/ 5163 w 21578"/>
              <a:gd name="connsiteY4" fmla="*/ 4973 h 20835"/>
              <a:gd name="connsiteX5" fmla="*/ 6921 w 21578"/>
              <a:gd name="connsiteY5" fmla="*/ 12401 h 20835"/>
              <a:gd name="connsiteX6" fmla="*/ 10535 w 21578"/>
              <a:gd name="connsiteY6" fmla="*/ 5454 h 20835"/>
              <a:gd name="connsiteX7" fmla="*/ 12722 w 21578"/>
              <a:gd name="connsiteY7" fmla="*/ 17356 h 20835"/>
              <a:gd name="connsiteX8" fmla="*/ 14804 w 21578"/>
              <a:gd name="connsiteY8" fmla="*/ 8350 h 20835"/>
              <a:gd name="connsiteX9" fmla="*/ 16216 w 21578"/>
              <a:gd name="connsiteY9" fmla="*/ 74 h 20835"/>
              <a:gd name="connsiteX10" fmla="*/ 17183 w 21578"/>
              <a:gd name="connsiteY10" fmla="*/ 6533 h 20835"/>
              <a:gd name="connsiteX11" fmla="*/ 17327 w 21578"/>
              <a:gd name="connsiteY11" fmla="*/ 10694 h 20835"/>
              <a:gd name="connsiteX12" fmla="*/ 18958 w 21578"/>
              <a:gd name="connsiteY12" fmla="*/ 16785 h 20835"/>
              <a:gd name="connsiteX13" fmla="*/ 21578 w 21578"/>
              <a:gd name="connsiteY13" fmla="*/ 15105 h 20835"/>
              <a:gd name="connsiteX0" fmla="*/ 0 w 21578"/>
              <a:gd name="connsiteY0" fmla="*/ 9346 h 17903"/>
              <a:gd name="connsiteX1" fmla="*/ 847 w 21578"/>
              <a:gd name="connsiteY1" fmla="*/ 12716 h 17903"/>
              <a:gd name="connsiteX2" fmla="*/ 2274 w 21578"/>
              <a:gd name="connsiteY2" fmla="*/ 12918 h 17903"/>
              <a:gd name="connsiteX3" fmla="*/ 3599 w 21578"/>
              <a:gd name="connsiteY3" fmla="*/ 8004 h 17903"/>
              <a:gd name="connsiteX4" fmla="*/ 5163 w 21578"/>
              <a:gd name="connsiteY4" fmla="*/ 4973 h 17903"/>
              <a:gd name="connsiteX5" fmla="*/ 6921 w 21578"/>
              <a:gd name="connsiteY5" fmla="*/ 12401 h 17903"/>
              <a:gd name="connsiteX6" fmla="*/ 10535 w 21578"/>
              <a:gd name="connsiteY6" fmla="*/ 5454 h 17903"/>
              <a:gd name="connsiteX7" fmla="*/ 12722 w 21578"/>
              <a:gd name="connsiteY7" fmla="*/ 17356 h 17903"/>
              <a:gd name="connsiteX8" fmla="*/ 14804 w 21578"/>
              <a:gd name="connsiteY8" fmla="*/ 8350 h 17903"/>
              <a:gd name="connsiteX9" fmla="*/ 16216 w 21578"/>
              <a:gd name="connsiteY9" fmla="*/ 74 h 17903"/>
              <a:gd name="connsiteX10" fmla="*/ 17183 w 21578"/>
              <a:gd name="connsiteY10" fmla="*/ 6533 h 17903"/>
              <a:gd name="connsiteX11" fmla="*/ 17327 w 21578"/>
              <a:gd name="connsiteY11" fmla="*/ 10694 h 17903"/>
              <a:gd name="connsiteX12" fmla="*/ 19230 w 21578"/>
              <a:gd name="connsiteY12" fmla="*/ 8610 h 17903"/>
              <a:gd name="connsiteX13" fmla="*/ 21578 w 21578"/>
              <a:gd name="connsiteY13" fmla="*/ 15105 h 17903"/>
              <a:gd name="connsiteX0" fmla="*/ 0 w 21578"/>
              <a:gd name="connsiteY0" fmla="*/ 9346 h 17903"/>
              <a:gd name="connsiteX1" fmla="*/ 847 w 21578"/>
              <a:gd name="connsiteY1" fmla="*/ 12716 h 17903"/>
              <a:gd name="connsiteX2" fmla="*/ 2274 w 21578"/>
              <a:gd name="connsiteY2" fmla="*/ 12918 h 17903"/>
              <a:gd name="connsiteX3" fmla="*/ 3599 w 21578"/>
              <a:gd name="connsiteY3" fmla="*/ 8004 h 17903"/>
              <a:gd name="connsiteX4" fmla="*/ 5163 w 21578"/>
              <a:gd name="connsiteY4" fmla="*/ 4973 h 17903"/>
              <a:gd name="connsiteX5" fmla="*/ 6921 w 21578"/>
              <a:gd name="connsiteY5" fmla="*/ 12401 h 17903"/>
              <a:gd name="connsiteX6" fmla="*/ 10535 w 21578"/>
              <a:gd name="connsiteY6" fmla="*/ 5454 h 17903"/>
              <a:gd name="connsiteX7" fmla="*/ 12722 w 21578"/>
              <a:gd name="connsiteY7" fmla="*/ 17356 h 17903"/>
              <a:gd name="connsiteX8" fmla="*/ 14804 w 21578"/>
              <a:gd name="connsiteY8" fmla="*/ 8350 h 17903"/>
              <a:gd name="connsiteX9" fmla="*/ 16216 w 21578"/>
              <a:gd name="connsiteY9" fmla="*/ 74 h 17903"/>
              <a:gd name="connsiteX10" fmla="*/ 17183 w 21578"/>
              <a:gd name="connsiteY10" fmla="*/ 6533 h 17903"/>
              <a:gd name="connsiteX11" fmla="*/ 17327 w 21578"/>
              <a:gd name="connsiteY11" fmla="*/ 10694 h 17903"/>
              <a:gd name="connsiteX12" fmla="*/ 17967 w 21578"/>
              <a:gd name="connsiteY12" fmla="*/ 14198 h 17903"/>
              <a:gd name="connsiteX13" fmla="*/ 19230 w 21578"/>
              <a:gd name="connsiteY13" fmla="*/ 8610 h 17903"/>
              <a:gd name="connsiteX14" fmla="*/ 21578 w 21578"/>
              <a:gd name="connsiteY14" fmla="*/ 15105 h 17903"/>
              <a:gd name="connsiteX0" fmla="*/ 0 w 22063"/>
              <a:gd name="connsiteY0" fmla="*/ 9346 h 17381"/>
              <a:gd name="connsiteX1" fmla="*/ 847 w 22063"/>
              <a:gd name="connsiteY1" fmla="*/ 12716 h 17381"/>
              <a:gd name="connsiteX2" fmla="*/ 2274 w 22063"/>
              <a:gd name="connsiteY2" fmla="*/ 12918 h 17381"/>
              <a:gd name="connsiteX3" fmla="*/ 3599 w 22063"/>
              <a:gd name="connsiteY3" fmla="*/ 8004 h 17381"/>
              <a:gd name="connsiteX4" fmla="*/ 5163 w 22063"/>
              <a:gd name="connsiteY4" fmla="*/ 4973 h 17381"/>
              <a:gd name="connsiteX5" fmla="*/ 6921 w 22063"/>
              <a:gd name="connsiteY5" fmla="*/ 12401 h 17381"/>
              <a:gd name="connsiteX6" fmla="*/ 10535 w 22063"/>
              <a:gd name="connsiteY6" fmla="*/ 5454 h 17381"/>
              <a:gd name="connsiteX7" fmla="*/ 12722 w 22063"/>
              <a:gd name="connsiteY7" fmla="*/ 17356 h 17381"/>
              <a:gd name="connsiteX8" fmla="*/ 14804 w 22063"/>
              <a:gd name="connsiteY8" fmla="*/ 8350 h 17381"/>
              <a:gd name="connsiteX9" fmla="*/ 16216 w 22063"/>
              <a:gd name="connsiteY9" fmla="*/ 74 h 17381"/>
              <a:gd name="connsiteX10" fmla="*/ 17183 w 22063"/>
              <a:gd name="connsiteY10" fmla="*/ 6533 h 17381"/>
              <a:gd name="connsiteX11" fmla="*/ 17327 w 22063"/>
              <a:gd name="connsiteY11" fmla="*/ 10694 h 17381"/>
              <a:gd name="connsiteX12" fmla="*/ 17967 w 22063"/>
              <a:gd name="connsiteY12" fmla="*/ 14198 h 17381"/>
              <a:gd name="connsiteX13" fmla="*/ 19230 w 22063"/>
              <a:gd name="connsiteY13" fmla="*/ 8610 h 17381"/>
              <a:gd name="connsiteX14" fmla="*/ 22063 w 22063"/>
              <a:gd name="connsiteY14" fmla="*/ 4594 h 17381"/>
              <a:gd name="connsiteX0" fmla="*/ 0 w 22063"/>
              <a:gd name="connsiteY0" fmla="*/ 5024 h 13056"/>
              <a:gd name="connsiteX1" fmla="*/ 847 w 22063"/>
              <a:gd name="connsiteY1" fmla="*/ 8394 h 13056"/>
              <a:gd name="connsiteX2" fmla="*/ 2274 w 22063"/>
              <a:gd name="connsiteY2" fmla="*/ 8596 h 13056"/>
              <a:gd name="connsiteX3" fmla="*/ 3599 w 22063"/>
              <a:gd name="connsiteY3" fmla="*/ 3682 h 13056"/>
              <a:gd name="connsiteX4" fmla="*/ 5163 w 22063"/>
              <a:gd name="connsiteY4" fmla="*/ 651 h 13056"/>
              <a:gd name="connsiteX5" fmla="*/ 6921 w 22063"/>
              <a:gd name="connsiteY5" fmla="*/ 8079 h 13056"/>
              <a:gd name="connsiteX6" fmla="*/ 10535 w 22063"/>
              <a:gd name="connsiteY6" fmla="*/ 1132 h 13056"/>
              <a:gd name="connsiteX7" fmla="*/ 12722 w 22063"/>
              <a:gd name="connsiteY7" fmla="*/ 13034 h 13056"/>
              <a:gd name="connsiteX8" fmla="*/ 14804 w 22063"/>
              <a:gd name="connsiteY8" fmla="*/ 4028 h 13056"/>
              <a:gd name="connsiteX9" fmla="*/ 16022 w 22063"/>
              <a:gd name="connsiteY9" fmla="*/ 190 h 13056"/>
              <a:gd name="connsiteX10" fmla="*/ 17183 w 22063"/>
              <a:gd name="connsiteY10" fmla="*/ 2211 h 13056"/>
              <a:gd name="connsiteX11" fmla="*/ 17327 w 22063"/>
              <a:gd name="connsiteY11" fmla="*/ 6372 h 13056"/>
              <a:gd name="connsiteX12" fmla="*/ 17967 w 22063"/>
              <a:gd name="connsiteY12" fmla="*/ 9876 h 13056"/>
              <a:gd name="connsiteX13" fmla="*/ 19230 w 22063"/>
              <a:gd name="connsiteY13" fmla="*/ 4288 h 13056"/>
              <a:gd name="connsiteX14" fmla="*/ 22063 w 22063"/>
              <a:gd name="connsiteY14" fmla="*/ 272 h 13056"/>
              <a:gd name="connsiteX0" fmla="*/ 0 w 22063"/>
              <a:gd name="connsiteY0" fmla="*/ 5084 h 13116"/>
              <a:gd name="connsiteX1" fmla="*/ 847 w 22063"/>
              <a:gd name="connsiteY1" fmla="*/ 8454 h 13116"/>
              <a:gd name="connsiteX2" fmla="*/ 2274 w 22063"/>
              <a:gd name="connsiteY2" fmla="*/ 8656 h 13116"/>
              <a:gd name="connsiteX3" fmla="*/ 3599 w 22063"/>
              <a:gd name="connsiteY3" fmla="*/ 3742 h 13116"/>
              <a:gd name="connsiteX4" fmla="*/ 5163 w 22063"/>
              <a:gd name="connsiteY4" fmla="*/ 711 h 13116"/>
              <a:gd name="connsiteX5" fmla="*/ 6921 w 22063"/>
              <a:gd name="connsiteY5" fmla="*/ 8139 h 13116"/>
              <a:gd name="connsiteX6" fmla="*/ 10535 w 22063"/>
              <a:gd name="connsiteY6" fmla="*/ 1192 h 13116"/>
              <a:gd name="connsiteX7" fmla="*/ 12722 w 22063"/>
              <a:gd name="connsiteY7" fmla="*/ 13094 h 13116"/>
              <a:gd name="connsiteX8" fmla="*/ 14804 w 22063"/>
              <a:gd name="connsiteY8" fmla="*/ 4088 h 13116"/>
              <a:gd name="connsiteX9" fmla="*/ 16022 w 22063"/>
              <a:gd name="connsiteY9" fmla="*/ 250 h 13116"/>
              <a:gd name="connsiteX10" fmla="*/ 17183 w 22063"/>
              <a:gd name="connsiteY10" fmla="*/ 2271 h 13116"/>
              <a:gd name="connsiteX11" fmla="*/ 16842 w 22063"/>
              <a:gd name="connsiteY11" fmla="*/ 10403 h 13116"/>
              <a:gd name="connsiteX12" fmla="*/ 17967 w 22063"/>
              <a:gd name="connsiteY12" fmla="*/ 9936 h 13116"/>
              <a:gd name="connsiteX13" fmla="*/ 19230 w 22063"/>
              <a:gd name="connsiteY13" fmla="*/ 4348 h 13116"/>
              <a:gd name="connsiteX14" fmla="*/ 22063 w 22063"/>
              <a:gd name="connsiteY14" fmla="*/ 332 h 13116"/>
              <a:gd name="connsiteX0" fmla="*/ 0 w 22063"/>
              <a:gd name="connsiteY0" fmla="*/ 5033 h 13065"/>
              <a:gd name="connsiteX1" fmla="*/ 847 w 22063"/>
              <a:gd name="connsiteY1" fmla="*/ 8403 h 13065"/>
              <a:gd name="connsiteX2" fmla="*/ 2274 w 22063"/>
              <a:gd name="connsiteY2" fmla="*/ 8605 h 13065"/>
              <a:gd name="connsiteX3" fmla="*/ 3599 w 22063"/>
              <a:gd name="connsiteY3" fmla="*/ 3691 h 13065"/>
              <a:gd name="connsiteX4" fmla="*/ 5163 w 22063"/>
              <a:gd name="connsiteY4" fmla="*/ 660 h 13065"/>
              <a:gd name="connsiteX5" fmla="*/ 6921 w 22063"/>
              <a:gd name="connsiteY5" fmla="*/ 8088 h 13065"/>
              <a:gd name="connsiteX6" fmla="*/ 10535 w 22063"/>
              <a:gd name="connsiteY6" fmla="*/ 1141 h 13065"/>
              <a:gd name="connsiteX7" fmla="*/ 12722 w 22063"/>
              <a:gd name="connsiteY7" fmla="*/ 13043 h 13065"/>
              <a:gd name="connsiteX8" fmla="*/ 14804 w 22063"/>
              <a:gd name="connsiteY8" fmla="*/ 4037 h 13065"/>
              <a:gd name="connsiteX9" fmla="*/ 16022 w 22063"/>
              <a:gd name="connsiteY9" fmla="*/ 199 h 13065"/>
              <a:gd name="connsiteX10" fmla="*/ 17183 w 22063"/>
              <a:gd name="connsiteY10" fmla="*/ 2220 h 13065"/>
              <a:gd name="connsiteX11" fmla="*/ 17482 w 22063"/>
              <a:gd name="connsiteY11" fmla="*/ 7082 h 13065"/>
              <a:gd name="connsiteX12" fmla="*/ 17967 w 22063"/>
              <a:gd name="connsiteY12" fmla="*/ 9885 h 13065"/>
              <a:gd name="connsiteX13" fmla="*/ 19230 w 22063"/>
              <a:gd name="connsiteY13" fmla="*/ 4297 h 13065"/>
              <a:gd name="connsiteX14" fmla="*/ 22063 w 22063"/>
              <a:gd name="connsiteY14" fmla="*/ 281 h 13065"/>
              <a:gd name="connsiteX0" fmla="*/ 0 w 22063"/>
              <a:gd name="connsiteY0" fmla="*/ 7783 h 15891"/>
              <a:gd name="connsiteX1" fmla="*/ 847 w 22063"/>
              <a:gd name="connsiteY1" fmla="*/ 11153 h 15891"/>
              <a:gd name="connsiteX2" fmla="*/ 2274 w 22063"/>
              <a:gd name="connsiteY2" fmla="*/ 11355 h 15891"/>
              <a:gd name="connsiteX3" fmla="*/ 3599 w 22063"/>
              <a:gd name="connsiteY3" fmla="*/ 6441 h 15891"/>
              <a:gd name="connsiteX4" fmla="*/ 5163 w 22063"/>
              <a:gd name="connsiteY4" fmla="*/ 3410 h 15891"/>
              <a:gd name="connsiteX5" fmla="*/ 6921 w 22063"/>
              <a:gd name="connsiteY5" fmla="*/ 10838 h 15891"/>
              <a:gd name="connsiteX6" fmla="*/ 10089 w 22063"/>
              <a:gd name="connsiteY6" fmla="*/ 387 h 15891"/>
              <a:gd name="connsiteX7" fmla="*/ 12722 w 22063"/>
              <a:gd name="connsiteY7" fmla="*/ 15793 h 15891"/>
              <a:gd name="connsiteX8" fmla="*/ 14804 w 22063"/>
              <a:gd name="connsiteY8" fmla="*/ 6787 h 15891"/>
              <a:gd name="connsiteX9" fmla="*/ 16022 w 22063"/>
              <a:gd name="connsiteY9" fmla="*/ 2949 h 15891"/>
              <a:gd name="connsiteX10" fmla="*/ 17183 w 22063"/>
              <a:gd name="connsiteY10" fmla="*/ 4970 h 15891"/>
              <a:gd name="connsiteX11" fmla="*/ 17482 w 22063"/>
              <a:gd name="connsiteY11" fmla="*/ 9832 h 15891"/>
              <a:gd name="connsiteX12" fmla="*/ 17967 w 22063"/>
              <a:gd name="connsiteY12" fmla="*/ 12635 h 15891"/>
              <a:gd name="connsiteX13" fmla="*/ 19230 w 22063"/>
              <a:gd name="connsiteY13" fmla="*/ 7047 h 15891"/>
              <a:gd name="connsiteX14" fmla="*/ 22063 w 22063"/>
              <a:gd name="connsiteY14" fmla="*/ 3031 h 15891"/>
              <a:gd name="connsiteX0" fmla="*/ 0 w 22063"/>
              <a:gd name="connsiteY0" fmla="*/ 7438 h 15314"/>
              <a:gd name="connsiteX1" fmla="*/ 847 w 22063"/>
              <a:gd name="connsiteY1" fmla="*/ 10808 h 15314"/>
              <a:gd name="connsiteX2" fmla="*/ 2274 w 22063"/>
              <a:gd name="connsiteY2" fmla="*/ 11010 h 15314"/>
              <a:gd name="connsiteX3" fmla="*/ 3599 w 22063"/>
              <a:gd name="connsiteY3" fmla="*/ 6096 h 15314"/>
              <a:gd name="connsiteX4" fmla="*/ 5163 w 22063"/>
              <a:gd name="connsiteY4" fmla="*/ 3065 h 15314"/>
              <a:gd name="connsiteX5" fmla="*/ 6921 w 22063"/>
              <a:gd name="connsiteY5" fmla="*/ 10493 h 15314"/>
              <a:gd name="connsiteX6" fmla="*/ 10089 w 22063"/>
              <a:gd name="connsiteY6" fmla="*/ 42 h 15314"/>
              <a:gd name="connsiteX7" fmla="*/ 12198 w 22063"/>
              <a:gd name="connsiteY7" fmla="*/ 15214 h 15314"/>
              <a:gd name="connsiteX8" fmla="*/ 14804 w 22063"/>
              <a:gd name="connsiteY8" fmla="*/ 6442 h 15314"/>
              <a:gd name="connsiteX9" fmla="*/ 16022 w 22063"/>
              <a:gd name="connsiteY9" fmla="*/ 2604 h 15314"/>
              <a:gd name="connsiteX10" fmla="*/ 17183 w 22063"/>
              <a:gd name="connsiteY10" fmla="*/ 4625 h 15314"/>
              <a:gd name="connsiteX11" fmla="*/ 17482 w 22063"/>
              <a:gd name="connsiteY11" fmla="*/ 9487 h 15314"/>
              <a:gd name="connsiteX12" fmla="*/ 17967 w 22063"/>
              <a:gd name="connsiteY12" fmla="*/ 12290 h 15314"/>
              <a:gd name="connsiteX13" fmla="*/ 19230 w 22063"/>
              <a:gd name="connsiteY13" fmla="*/ 6702 h 15314"/>
              <a:gd name="connsiteX14" fmla="*/ 22063 w 22063"/>
              <a:gd name="connsiteY14" fmla="*/ 2686 h 15314"/>
              <a:gd name="connsiteX0" fmla="*/ 0 w 22063"/>
              <a:gd name="connsiteY0" fmla="*/ 10735 h 18623"/>
              <a:gd name="connsiteX1" fmla="*/ 847 w 22063"/>
              <a:gd name="connsiteY1" fmla="*/ 14105 h 18623"/>
              <a:gd name="connsiteX2" fmla="*/ 2274 w 22063"/>
              <a:gd name="connsiteY2" fmla="*/ 14307 h 18623"/>
              <a:gd name="connsiteX3" fmla="*/ 3599 w 22063"/>
              <a:gd name="connsiteY3" fmla="*/ 9393 h 18623"/>
              <a:gd name="connsiteX4" fmla="*/ 5163 w 22063"/>
              <a:gd name="connsiteY4" fmla="*/ 6362 h 18623"/>
              <a:gd name="connsiteX5" fmla="*/ 6921 w 22063"/>
              <a:gd name="connsiteY5" fmla="*/ 13790 h 18623"/>
              <a:gd name="connsiteX6" fmla="*/ 10089 w 22063"/>
              <a:gd name="connsiteY6" fmla="*/ 3339 h 18623"/>
              <a:gd name="connsiteX7" fmla="*/ 12198 w 22063"/>
              <a:gd name="connsiteY7" fmla="*/ 18511 h 18623"/>
              <a:gd name="connsiteX8" fmla="*/ 14804 w 22063"/>
              <a:gd name="connsiteY8" fmla="*/ 9739 h 18623"/>
              <a:gd name="connsiteX9" fmla="*/ 16100 w 22063"/>
              <a:gd name="connsiteY9" fmla="*/ 62 h 18623"/>
              <a:gd name="connsiteX10" fmla="*/ 17183 w 22063"/>
              <a:gd name="connsiteY10" fmla="*/ 7922 h 18623"/>
              <a:gd name="connsiteX11" fmla="*/ 17482 w 22063"/>
              <a:gd name="connsiteY11" fmla="*/ 12784 h 18623"/>
              <a:gd name="connsiteX12" fmla="*/ 17967 w 22063"/>
              <a:gd name="connsiteY12" fmla="*/ 15587 h 18623"/>
              <a:gd name="connsiteX13" fmla="*/ 19230 w 22063"/>
              <a:gd name="connsiteY13" fmla="*/ 9999 h 18623"/>
              <a:gd name="connsiteX14" fmla="*/ 22063 w 22063"/>
              <a:gd name="connsiteY14" fmla="*/ 5983 h 18623"/>
              <a:gd name="connsiteX0" fmla="*/ 0 w 22063"/>
              <a:gd name="connsiteY0" fmla="*/ 10735 h 17013"/>
              <a:gd name="connsiteX1" fmla="*/ 847 w 22063"/>
              <a:gd name="connsiteY1" fmla="*/ 14105 h 17013"/>
              <a:gd name="connsiteX2" fmla="*/ 2274 w 22063"/>
              <a:gd name="connsiteY2" fmla="*/ 14307 h 17013"/>
              <a:gd name="connsiteX3" fmla="*/ 3599 w 22063"/>
              <a:gd name="connsiteY3" fmla="*/ 9393 h 17013"/>
              <a:gd name="connsiteX4" fmla="*/ 5163 w 22063"/>
              <a:gd name="connsiteY4" fmla="*/ 6362 h 17013"/>
              <a:gd name="connsiteX5" fmla="*/ 6921 w 22063"/>
              <a:gd name="connsiteY5" fmla="*/ 13790 h 17013"/>
              <a:gd name="connsiteX6" fmla="*/ 10089 w 22063"/>
              <a:gd name="connsiteY6" fmla="*/ 3339 h 17013"/>
              <a:gd name="connsiteX7" fmla="*/ 12256 w 22063"/>
              <a:gd name="connsiteY7" fmla="*/ 16876 h 17013"/>
              <a:gd name="connsiteX8" fmla="*/ 14804 w 22063"/>
              <a:gd name="connsiteY8" fmla="*/ 9739 h 17013"/>
              <a:gd name="connsiteX9" fmla="*/ 16100 w 22063"/>
              <a:gd name="connsiteY9" fmla="*/ 62 h 17013"/>
              <a:gd name="connsiteX10" fmla="*/ 17183 w 22063"/>
              <a:gd name="connsiteY10" fmla="*/ 7922 h 17013"/>
              <a:gd name="connsiteX11" fmla="*/ 17482 w 22063"/>
              <a:gd name="connsiteY11" fmla="*/ 12784 h 17013"/>
              <a:gd name="connsiteX12" fmla="*/ 17967 w 22063"/>
              <a:gd name="connsiteY12" fmla="*/ 15587 h 17013"/>
              <a:gd name="connsiteX13" fmla="*/ 19230 w 22063"/>
              <a:gd name="connsiteY13" fmla="*/ 9999 h 17013"/>
              <a:gd name="connsiteX14" fmla="*/ 22063 w 22063"/>
              <a:gd name="connsiteY14" fmla="*/ 5983 h 17013"/>
              <a:gd name="connsiteX0" fmla="*/ 0 w 22063"/>
              <a:gd name="connsiteY0" fmla="*/ 10741 h 17019"/>
              <a:gd name="connsiteX1" fmla="*/ 847 w 22063"/>
              <a:gd name="connsiteY1" fmla="*/ 14111 h 17019"/>
              <a:gd name="connsiteX2" fmla="*/ 2274 w 22063"/>
              <a:gd name="connsiteY2" fmla="*/ 14313 h 17019"/>
              <a:gd name="connsiteX3" fmla="*/ 3599 w 22063"/>
              <a:gd name="connsiteY3" fmla="*/ 9399 h 17019"/>
              <a:gd name="connsiteX4" fmla="*/ 5163 w 22063"/>
              <a:gd name="connsiteY4" fmla="*/ 6368 h 17019"/>
              <a:gd name="connsiteX5" fmla="*/ 6921 w 22063"/>
              <a:gd name="connsiteY5" fmla="*/ 13796 h 17019"/>
              <a:gd name="connsiteX6" fmla="*/ 10089 w 22063"/>
              <a:gd name="connsiteY6" fmla="*/ 3345 h 17019"/>
              <a:gd name="connsiteX7" fmla="*/ 12256 w 22063"/>
              <a:gd name="connsiteY7" fmla="*/ 16882 h 17019"/>
              <a:gd name="connsiteX8" fmla="*/ 14804 w 22063"/>
              <a:gd name="connsiteY8" fmla="*/ 9745 h 17019"/>
              <a:gd name="connsiteX9" fmla="*/ 16100 w 22063"/>
              <a:gd name="connsiteY9" fmla="*/ 68 h 17019"/>
              <a:gd name="connsiteX10" fmla="*/ 17183 w 22063"/>
              <a:gd name="connsiteY10" fmla="*/ 7928 h 17019"/>
              <a:gd name="connsiteX11" fmla="*/ 17404 w 22063"/>
              <a:gd name="connsiteY11" fmla="*/ 16294 h 17019"/>
              <a:gd name="connsiteX12" fmla="*/ 17967 w 22063"/>
              <a:gd name="connsiteY12" fmla="*/ 15593 h 17019"/>
              <a:gd name="connsiteX13" fmla="*/ 19230 w 22063"/>
              <a:gd name="connsiteY13" fmla="*/ 10005 h 17019"/>
              <a:gd name="connsiteX14" fmla="*/ 22063 w 22063"/>
              <a:gd name="connsiteY14" fmla="*/ 5989 h 17019"/>
              <a:gd name="connsiteX0" fmla="*/ 0 w 22063"/>
              <a:gd name="connsiteY0" fmla="*/ 10741 h 18668"/>
              <a:gd name="connsiteX1" fmla="*/ 847 w 22063"/>
              <a:gd name="connsiteY1" fmla="*/ 14111 h 18668"/>
              <a:gd name="connsiteX2" fmla="*/ 2274 w 22063"/>
              <a:gd name="connsiteY2" fmla="*/ 14313 h 18668"/>
              <a:gd name="connsiteX3" fmla="*/ 3599 w 22063"/>
              <a:gd name="connsiteY3" fmla="*/ 9399 h 18668"/>
              <a:gd name="connsiteX4" fmla="*/ 5163 w 22063"/>
              <a:gd name="connsiteY4" fmla="*/ 6368 h 18668"/>
              <a:gd name="connsiteX5" fmla="*/ 6921 w 22063"/>
              <a:gd name="connsiteY5" fmla="*/ 13796 h 18668"/>
              <a:gd name="connsiteX6" fmla="*/ 10089 w 22063"/>
              <a:gd name="connsiteY6" fmla="*/ 3345 h 18668"/>
              <a:gd name="connsiteX7" fmla="*/ 12256 w 22063"/>
              <a:gd name="connsiteY7" fmla="*/ 16882 h 18668"/>
              <a:gd name="connsiteX8" fmla="*/ 14804 w 22063"/>
              <a:gd name="connsiteY8" fmla="*/ 9745 h 18668"/>
              <a:gd name="connsiteX9" fmla="*/ 16100 w 22063"/>
              <a:gd name="connsiteY9" fmla="*/ 68 h 18668"/>
              <a:gd name="connsiteX10" fmla="*/ 17183 w 22063"/>
              <a:gd name="connsiteY10" fmla="*/ 7928 h 18668"/>
              <a:gd name="connsiteX11" fmla="*/ 17404 w 22063"/>
              <a:gd name="connsiteY11" fmla="*/ 16294 h 18668"/>
              <a:gd name="connsiteX12" fmla="*/ 18219 w 22063"/>
              <a:gd name="connsiteY12" fmla="*/ 18629 h 18668"/>
              <a:gd name="connsiteX13" fmla="*/ 19230 w 22063"/>
              <a:gd name="connsiteY13" fmla="*/ 10005 h 18668"/>
              <a:gd name="connsiteX14" fmla="*/ 22063 w 22063"/>
              <a:gd name="connsiteY14" fmla="*/ 5989 h 18668"/>
              <a:gd name="connsiteX0" fmla="*/ 0 w 22063"/>
              <a:gd name="connsiteY0" fmla="*/ 12902 h 20829"/>
              <a:gd name="connsiteX1" fmla="*/ 847 w 22063"/>
              <a:gd name="connsiteY1" fmla="*/ 16272 h 20829"/>
              <a:gd name="connsiteX2" fmla="*/ 2274 w 22063"/>
              <a:gd name="connsiteY2" fmla="*/ 16474 h 20829"/>
              <a:gd name="connsiteX3" fmla="*/ 3599 w 22063"/>
              <a:gd name="connsiteY3" fmla="*/ 11560 h 20829"/>
              <a:gd name="connsiteX4" fmla="*/ 5163 w 22063"/>
              <a:gd name="connsiteY4" fmla="*/ 8529 h 20829"/>
              <a:gd name="connsiteX5" fmla="*/ 6921 w 22063"/>
              <a:gd name="connsiteY5" fmla="*/ 15957 h 20829"/>
              <a:gd name="connsiteX6" fmla="*/ 10089 w 22063"/>
              <a:gd name="connsiteY6" fmla="*/ 5506 h 20829"/>
              <a:gd name="connsiteX7" fmla="*/ 12256 w 22063"/>
              <a:gd name="connsiteY7" fmla="*/ 19043 h 20829"/>
              <a:gd name="connsiteX8" fmla="*/ 14804 w 22063"/>
              <a:gd name="connsiteY8" fmla="*/ 11906 h 20829"/>
              <a:gd name="connsiteX9" fmla="*/ 16100 w 22063"/>
              <a:gd name="connsiteY9" fmla="*/ 2229 h 20829"/>
              <a:gd name="connsiteX10" fmla="*/ 17183 w 22063"/>
              <a:gd name="connsiteY10" fmla="*/ 10089 h 20829"/>
              <a:gd name="connsiteX11" fmla="*/ 17404 w 22063"/>
              <a:gd name="connsiteY11" fmla="*/ 18455 h 20829"/>
              <a:gd name="connsiteX12" fmla="*/ 18219 w 22063"/>
              <a:gd name="connsiteY12" fmla="*/ 20790 h 20829"/>
              <a:gd name="connsiteX13" fmla="*/ 19948 w 22063"/>
              <a:gd name="connsiteY13" fmla="*/ 20 h 20829"/>
              <a:gd name="connsiteX14" fmla="*/ 22063 w 22063"/>
              <a:gd name="connsiteY14" fmla="*/ 8150 h 20829"/>
              <a:gd name="connsiteX0" fmla="*/ 0 w 22063"/>
              <a:gd name="connsiteY0" fmla="*/ 12902 h 20829"/>
              <a:gd name="connsiteX1" fmla="*/ 847 w 22063"/>
              <a:gd name="connsiteY1" fmla="*/ 16272 h 20829"/>
              <a:gd name="connsiteX2" fmla="*/ 2274 w 22063"/>
              <a:gd name="connsiteY2" fmla="*/ 16474 h 20829"/>
              <a:gd name="connsiteX3" fmla="*/ 3599 w 22063"/>
              <a:gd name="connsiteY3" fmla="*/ 11560 h 20829"/>
              <a:gd name="connsiteX4" fmla="*/ 5163 w 22063"/>
              <a:gd name="connsiteY4" fmla="*/ 8529 h 20829"/>
              <a:gd name="connsiteX5" fmla="*/ 6921 w 22063"/>
              <a:gd name="connsiteY5" fmla="*/ 15957 h 20829"/>
              <a:gd name="connsiteX6" fmla="*/ 10089 w 22063"/>
              <a:gd name="connsiteY6" fmla="*/ 5506 h 20829"/>
              <a:gd name="connsiteX7" fmla="*/ 12256 w 22063"/>
              <a:gd name="connsiteY7" fmla="*/ 19043 h 20829"/>
              <a:gd name="connsiteX8" fmla="*/ 14144 w 22063"/>
              <a:gd name="connsiteY8" fmla="*/ 10037 h 20829"/>
              <a:gd name="connsiteX9" fmla="*/ 16100 w 22063"/>
              <a:gd name="connsiteY9" fmla="*/ 2229 h 20829"/>
              <a:gd name="connsiteX10" fmla="*/ 17183 w 22063"/>
              <a:gd name="connsiteY10" fmla="*/ 10089 h 20829"/>
              <a:gd name="connsiteX11" fmla="*/ 17404 w 22063"/>
              <a:gd name="connsiteY11" fmla="*/ 18455 h 20829"/>
              <a:gd name="connsiteX12" fmla="*/ 18219 w 22063"/>
              <a:gd name="connsiteY12" fmla="*/ 20790 h 20829"/>
              <a:gd name="connsiteX13" fmla="*/ 19948 w 22063"/>
              <a:gd name="connsiteY13" fmla="*/ 20 h 20829"/>
              <a:gd name="connsiteX14" fmla="*/ 22063 w 22063"/>
              <a:gd name="connsiteY14" fmla="*/ 8150 h 20829"/>
              <a:gd name="connsiteX0" fmla="*/ 0 w 22063"/>
              <a:gd name="connsiteY0" fmla="*/ 12902 h 20829"/>
              <a:gd name="connsiteX1" fmla="*/ 847 w 22063"/>
              <a:gd name="connsiteY1" fmla="*/ 16272 h 20829"/>
              <a:gd name="connsiteX2" fmla="*/ 2274 w 22063"/>
              <a:gd name="connsiteY2" fmla="*/ 16474 h 20829"/>
              <a:gd name="connsiteX3" fmla="*/ 3599 w 22063"/>
              <a:gd name="connsiteY3" fmla="*/ 11560 h 20829"/>
              <a:gd name="connsiteX4" fmla="*/ 5163 w 22063"/>
              <a:gd name="connsiteY4" fmla="*/ 8529 h 20829"/>
              <a:gd name="connsiteX5" fmla="*/ 6921 w 22063"/>
              <a:gd name="connsiteY5" fmla="*/ 15957 h 20829"/>
              <a:gd name="connsiteX6" fmla="*/ 10089 w 22063"/>
              <a:gd name="connsiteY6" fmla="*/ 5506 h 20829"/>
              <a:gd name="connsiteX7" fmla="*/ 12256 w 22063"/>
              <a:gd name="connsiteY7" fmla="*/ 19043 h 20829"/>
              <a:gd name="connsiteX8" fmla="*/ 14144 w 22063"/>
              <a:gd name="connsiteY8" fmla="*/ 10037 h 20829"/>
              <a:gd name="connsiteX9" fmla="*/ 16100 w 22063"/>
              <a:gd name="connsiteY9" fmla="*/ 2229 h 20829"/>
              <a:gd name="connsiteX10" fmla="*/ 17183 w 22063"/>
              <a:gd name="connsiteY10" fmla="*/ 10089 h 20829"/>
              <a:gd name="connsiteX11" fmla="*/ 17404 w 22063"/>
              <a:gd name="connsiteY11" fmla="*/ 18455 h 20829"/>
              <a:gd name="connsiteX12" fmla="*/ 18219 w 22063"/>
              <a:gd name="connsiteY12" fmla="*/ 20790 h 20829"/>
              <a:gd name="connsiteX13" fmla="*/ 19948 w 22063"/>
              <a:gd name="connsiteY13" fmla="*/ 20 h 20829"/>
              <a:gd name="connsiteX14" fmla="*/ 22063 w 22063"/>
              <a:gd name="connsiteY14" fmla="*/ 8150 h 20829"/>
              <a:gd name="connsiteX0" fmla="*/ 0 w 22063"/>
              <a:gd name="connsiteY0" fmla="*/ 12901 h 23376"/>
              <a:gd name="connsiteX1" fmla="*/ 847 w 22063"/>
              <a:gd name="connsiteY1" fmla="*/ 16271 h 23376"/>
              <a:gd name="connsiteX2" fmla="*/ 2274 w 22063"/>
              <a:gd name="connsiteY2" fmla="*/ 16473 h 23376"/>
              <a:gd name="connsiteX3" fmla="*/ 3599 w 22063"/>
              <a:gd name="connsiteY3" fmla="*/ 11559 h 23376"/>
              <a:gd name="connsiteX4" fmla="*/ 5163 w 22063"/>
              <a:gd name="connsiteY4" fmla="*/ 8528 h 23376"/>
              <a:gd name="connsiteX5" fmla="*/ 6921 w 22063"/>
              <a:gd name="connsiteY5" fmla="*/ 15956 h 23376"/>
              <a:gd name="connsiteX6" fmla="*/ 10089 w 22063"/>
              <a:gd name="connsiteY6" fmla="*/ 5505 h 23376"/>
              <a:gd name="connsiteX7" fmla="*/ 12256 w 22063"/>
              <a:gd name="connsiteY7" fmla="*/ 19042 h 23376"/>
              <a:gd name="connsiteX8" fmla="*/ 14144 w 22063"/>
              <a:gd name="connsiteY8" fmla="*/ 10036 h 23376"/>
              <a:gd name="connsiteX9" fmla="*/ 16100 w 22063"/>
              <a:gd name="connsiteY9" fmla="*/ 2228 h 23376"/>
              <a:gd name="connsiteX10" fmla="*/ 17183 w 22063"/>
              <a:gd name="connsiteY10" fmla="*/ 10088 h 23376"/>
              <a:gd name="connsiteX11" fmla="*/ 17404 w 22063"/>
              <a:gd name="connsiteY11" fmla="*/ 18454 h 23376"/>
              <a:gd name="connsiteX12" fmla="*/ 18820 w 22063"/>
              <a:gd name="connsiteY12" fmla="*/ 23358 h 23376"/>
              <a:gd name="connsiteX13" fmla="*/ 19948 w 22063"/>
              <a:gd name="connsiteY13" fmla="*/ 19 h 23376"/>
              <a:gd name="connsiteX14" fmla="*/ 22063 w 22063"/>
              <a:gd name="connsiteY14" fmla="*/ 8149 h 23376"/>
              <a:gd name="connsiteX0" fmla="*/ 0 w 22063"/>
              <a:gd name="connsiteY0" fmla="*/ 11734 h 22209"/>
              <a:gd name="connsiteX1" fmla="*/ 847 w 22063"/>
              <a:gd name="connsiteY1" fmla="*/ 15104 h 22209"/>
              <a:gd name="connsiteX2" fmla="*/ 2274 w 22063"/>
              <a:gd name="connsiteY2" fmla="*/ 15306 h 22209"/>
              <a:gd name="connsiteX3" fmla="*/ 3599 w 22063"/>
              <a:gd name="connsiteY3" fmla="*/ 10392 h 22209"/>
              <a:gd name="connsiteX4" fmla="*/ 5163 w 22063"/>
              <a:gd name="connsiteY4" fmla="*/ 7361 h 22209"/>
              <a:gd name="connsiteX5" fmla="*/ 6921 w 22063"/>
              <a:gd name="connsiteY5" fmla="*/ 14789 h 22209"/>
              <a:gd name="connsiteX6" fmla="*/ 10089 w 22063"/>
              <a:gd name="connsiteY6" fmla="*/ 4338 h 22209"/>
              <a:gd name="connsiteX7" fmla="*/ 12256 w 22063"/>
              <a:gd name="connsiteY7" fmla="*/ 17875 h 22209"/>
              <a:gd name="connsiteX8" fmla="*/ 14144 w 22063"/>
              <a:gd name="connsiteY8" fmla="*/ 8869 h 22209"/>
              <a:gd name="connsiteX9" fmla="*/ 16100 w 22063"/>
              <a:gd name="connsiteY9" fmla="*/ 1061 h 22209"/>
              <a:gd name="connsiteX10" fmla="*/ 17183 w 22063"/>
              <a:gd name="connsiteY10" fmla="*/ 8921 h 22209"/>
              <a:gd name="connsiteX11" fmla="*/ 17404 w 22063"/>
              <a:gd name="connsiteY11" fmla="*/ 17287 h 22209"/>
              <a:gd name="connsiteX12" fmla="*/ 18820 w 22063"/>
              <a:gd name="connsiteY12" fmla="*/ 22191 h 22209"/>
              <a:gd name="connsiteX13" fmla="*/ 20530 w 22063"/>
              <a:gd name="connsiteY13" fmla="*/ 20 h 22209"/>
              <a:gd name="connsiteX14" fmla="*/ 22063 w 22063"/>
              <a:gd name="connsiteY14" fmla="*/ 6982 h 22209"/>
              <a:gd name="connsiteX0" fmla="*/ 0 w 22063"/>
              <a:gd name="connsiteY0" fmla="*/ 11734 h 22209"/>
              <a:gd name="connsiteX1" fmla="*/ 847 w 22063"/>
              <a:gd name="connsiteY1" fmla="*/ 15104 h 22209"/>
              <a:gd name="connsiteX2" fmla="*/ 2274 w 22063"/>
              <a:gd name="connsiteY2" fmla="*/ 15306 h 22209"/>
              <a:gd name="connsiteX3" fmla="*/ 3599 w 22063"/>
              <a:gd name="connsiteY3" fmla="*/ 10392 h 22209"/>
              <a:gd name="connsiteX4" fmla="*/ 5163 w 22063"/>
              <a:gd name="connsiteY4" fmla="*/ 7361 h 22209"/>
              <a:gd name="connsiteX5" fmla="*/ 6921 w 22063"/>
              <a:gd name="connsiteY5" fmla="*/ 14789 h 22209"/>
              <a:gd name="connsiteX6" fmla="*/ 10089 w 22063"/>
              <a:gd name="connsiteY6" fmla="*/ 4338 h 22209"/>
              <a:gd name="connsiteX7" fmla="*/ 12256 w 22063"/>
              <a:gd name="connsiteY7" fmla="*/ 17875 h 22209"/>
              <a:gd name="connsiteX8" fmla="*/ 14144 w 22063"/>
              <a:gd name="connsiteY8" fmla="*/ 8869 h 22209"/>
              <a:gd name="connsiteX9" fmla="*/ 16100 w 22063"/>
              <a:gd name="connsiteY9" fmla="*/ 1061 h 22209"/>
              <a:gd name="connsiteX10" fmla="*/ 16950 w 22063"/>
              <a:gd name="connsiteY10" fmla="*/ 9622 h 22209"/>
              <a:gd name="connsiteX11" fmla="*/ 17404 w 22063"/>
              <a:gd name="connsiteY11" fmla="*/ 17287 h 22209"/>
              <a:gd name="connsiteX12" fmla="*/ 18820 w 22063"/>
              <a:gd name="connsiteY12" fmla="*/ 22191 h 22209"/>
              <a:gd name="connsiteX13" fmla="*/ 20530 w 22063"/>
              <a:gd name="connsiteY13" fmla="*/ 20 h 22209"/>
              <a:gd name="connsiteX14" fmla="*/ 22063 w 22063"/>
              <a:gd name="connsiteY14" fmla="*/ 6982 h 22209"/>
              <a:gd name="connsiteX0" fmla="*/ 0 w 22451"/>
              <a:gd name="connsiteY0" fmla="*/ 11734 h 22209"/>
              <a:gd name="connsiteX1" fmla="*/ 847 w 22451"/>
              <a:gd name="connsiteY1" fmla="*/ 15104 h 22209"/>
              <a:gd name="connsiteX2" fmla="*/ 2274 w 22451"/>
              <a:gd name="connsiteY2" fmla="*/ 15306 h 22209"/>
              <a:gd name="connsiteX3" fmla="*/ 3599 w 22451"/>
              <a:gd name="connsiteY3" fmla="*/ 10392 h 22209"/>
              <a:gd name="connsiteX4" fmla="*/ 5163 w 22451"/>
              <a:gd name="connsiteY4" fmla="*/ 7361 h 22209"/>
              <a:gd name="connsiteX5" fmla="*/ 6921 w 22451"/>
              <a:gd name="connsiteY5" fmla="*/ 14789 h 22209"/>
              <a:gd name="connsiteX6" fmla="*/ 10089 w 22451"/>
              <a:gd name="connsiteY6" fmla="*/ 4338 h 22209"/>
              <a:gd name="connsiteX7" fmla="*/ 12256 w 22451"/>
              <a:gd name="connsiteY7" fmla="*/ 17875 h 22209"/>
              <a:gd name="connsiteX8" fmla="*/ 14144 w 22451"/>
              <a:gd name="connsiteY8" fmla="*/ 8869 h 22209"/>
              <a:gd name="connsiteX9" fmla="*/ 16100 w 22451"/>
              <a:gd name="connsiteY9" fmla="*/ 1061 h 22209"/>
              <a:gd name="connsiteX10" fmla="*/ 16950 w 22451"/>
              <a:gd name="connsiteY10" fmla="*/ 9622 h 22209"/>
              <a:gd name="connsiteX11" fmla="*/ 17404 w 22451"/>
              <a:gd name="connsiteY11" fmla="*/ 17287 h 22209"/>
              <a:gd name="connsiteX12" fmla="*/ 18820 w 22451"/>
              <a:gd name="connsiteY12" fmla="*/ 22191 h 22209"/>
              <a:gd name="connsiteX13" fmla="*/ 20530 w 22451"/>
              <a:gd name="connsiteY13" fmla="*/ 20 h 22209"/>
              <a:gd name="connsiteX14" fmla="*/ 22451 w 22451"/>
              <a:gd name="connsiteY14" fmla="*/ 442 h 22209"/>
              <a:gd name="connsiteX0" fmla="*/ 0 w 22451"/>
              <a:gd name="connsiteY0" fmla="*/ 11292 h 21767"/>
              <a:gd name="connsiteX1" fmla="*/ 847 w 22451"/>
              <a:gd name="connsiteY1" fmla="*/ 14662 h 21767"/>
              <a:gd name="connsiteX2" fmla="*/ 2274 w 22451"/>
              <a:gd name="connsiteY2" fmla="*/ 14864 h 21767"/>
              <a:gd name="connsiteX3" fmla="*/ 3599 w 22451"/>
              <a:gd name="connsiteY3" fmla="*/ 9950 h 21767"/>
              <a:gd name="connsiteX4" fmla="*/ 5163 w 22451"/>
              <a:gd name="connsiteY4" fmla="*/ 6919 h 21767"/>
              <a:gd name="connsiteX5" fmla="*/ 6921 w 22451"/>
              <a:gd name="connsiteY5" fmla="*/ 14347 h 21767"/>
              <a:gd name="connsiteX6" fmla="*/ 10089 w 22451"/>
              <a:gd name="connsiteY6" fmla="*/ 3896 h 21767"/>
              <a:gd name="connsiteX7" fmla="*/ 12256 w 22451"/>
              <a:gd name="connsiteY7" fmla="*/ 17433 h 21767"/>
              <a:gd name="connsiteX8" fmla="*/ 14144 w 22451"/>
              <a:gd name="connsiteY8" fmla="*/ 8427 h 21767"/>
              <a:gd name="connsiteX9" fmla="*/ 16100 w 22451"/>
              <a:gd name="connsiteY9" fmla="*/ 619 h 21767"/>
              <a:gd name="connsiteX10" fmla="*/ 16950 w 22451"/>
              <a:gd name="connsiteY10" fmla="*/ 9180 h 21767"/>
              <a:gd name="connsiteX11" fmla="*/ 17404 w 22451"/>
              <a:gd name="connsiteY11" fmla="*/ 16845 h 21767"/>
              <a:gd name="connsiteX12" fmla="*/ 18820 w 22451"/>
              <a:gd name="connsiteY12" fmla="*/ 21749 h 21767"/>
              <a:gd name="connsiteX13" fmla="*/ 20375 w 22451"/>
              <a:gd name="connsiteY13" fmla="*/ 1914 h 21767"/>
              <a:gd name="connsiteX14" fmla="*/ 22451 w 22451"/>
              <a:gd name="connsiteY14" fmla="*/ 0 h 21767"/>
              <a:gd name="connsiteX0" fmla="*/ 0 w 22451"/>
              <a:gd name="connsiteY0" fmla="*/ 11292 h 21749"/>
              <a:gd name="connsiteX1" fmla="*/ 847 w 22451"/>
              <a:gd name="connsiteY1" fmla="*/ 14662 h 21749"/>
              <a:gd name="connsiteX2" fmla="*/ 2274 w 22451"/>
              <a:gd name="connsiteY2" fmla="*/ 14864 h 21749"/>
              <a:gd name="connsiteX3" fmla="*/ 3599 w 22451"/>
              <a:gd name="connsiteY3" fmla="*/ 9950 h 21749"/>
              <a:gd name="connsiteX4" fmla="*/ 5163 w 22451"/>
              <a:gd name="connsiteY4" fmla="*/ 6919 h 21749"/>
              <a:gd name="connsiteX5" fmla="*/ 6921 w 22451"/>
              <a:gd name="connsiteY5" fmla="*/ 14347 h 21749"/>
              <a:gd name="connsiteX6" fmla="*/ 10089 w 22451"/>
              <a:gd name="connsiteY6" fmla="*/ 3896 h 21749"/>
              <a:gd name="connsiteX7" fmla="*/ 12256 w 22451"/>
              <a:gd name="connsiteY7" fmla="*/ 17433 h 21749"/>
              <a:gd name="connsiteX8" fmla="*/ 14144 w 22451"/>
              <a:gd name="connsiteY8" fmla="*/ 8427 h 21749"/>
              <a:gd name="connsiteX9" fmla="*/ 16100 w 22451"/>
              <a:gd name="connsiteY9" fmla="*/ 619 h 21749"/>
              <a:gd name="connsiteX10" fmla="*/ 16950 w 22451"/>
              <a:gd name="connsiteY10" fmla="*/ 9180 h 21749"/>
              <a:gd name="connsiteX11" fmla="*/ 17404 w 22451"/>
              <a:gd name="connsiteY11" fmla="*/ 16845 h 21749"/>
              <a:gd name="connsiteX12" fmla="*/ 18820 w 22451"/>
              <a:gd name="connsiteY12" fmla="*/ 21749 h 21749"/>
              <a:gd name="connsiteX13" fmla="*/ 19403 w 22451"/>
              <a:gd name="connsiteY13" fmla="*/ 18012 h 21749"/>
              <a:gd name="connsiteX14" fmla="*/ 20375 w 22451"/>
              <a:gd name="connsiteY14" fmla="*/ 1914 h 21749"/>
              <a:gd name="connsiteX15" fmla="*/ 22451 w 22451"/>
              <a:gd name="connsiteY15" fmla="*/ 0 h 21749"/>
              <a:gd name="connsiteX0" fmla="*/ 0 w 22451"/>
              <a:gd name="connsiteY0" fmla="*/ 11292 h 21749"/>
              <a:gd name="connsiteX1" fmla="*/ 847 w 22451"/>
              <a:gd name="connsiteY1" fmla="*/ 14662 h 21749"/>
              <a:gd name="connsiteX2" fmla="*/ 2274 w 22451"/>
              <a:gd name="connsiteY2" fmla="*/ 14864 h 21749"/>
              <a:gd name="connsiteX3" fmla="*/ 3599 w 22451"/>
              <a:gd name="connsiteY3" fmla="*/ 9950 h 21749"/>
              <a:gd name="connsiteX4" fmla="*/ 5163 w 22451"/>
              <a:gd name="connsiteY4" fmla="*/ 6919 h 21749"/>
              <a:gd name="connsiteX5" fmla="*/ 6921 w 22451"/>
              <a:gd name="connsiteY5" fmla="*/ 14347 h 21749"/>
              <a:gd name="connsiteX6" fmla="*/ 10089 w 22451"/>
              <a:gd name="connsiteY6" fmla="*/ 3896 h 21749"/>
              <a:gd name="connsiteX7" fmla="*/ 12256 w 22451"/>
              <a:gd name="connsiteY7" fmla="*/ 17433 h 21749"/>
              <a:gd name="connsiteX8" fmla="*/ 14144 w 22451"/>
              <a:gd name="connsiteY8" fmla="*/ 8427 h 21749"/>
              <a:gd name="connsiteX9" fmla="*/ 16100 w 22451"/>
              <a:gd name="connsiteY9" fmla="*/ 619 h 21749"/>
              <a:gd name="connsiteX10" fmla="*/ 16950 w 22451"/>
              <a:gd name="connsiteY10" fmla="*/ 9180 h 21749"/>
              <a:gd name="connsiteX11" fmla="*/ 17404 w 22451"/>
              <a:gd name="connsiteY11" fmla="*/ 16845 h 21749"/>
              <a:gd name="connsiteX12" fmla="*/ 18820 w 22451"/>
              <a:gd name="connsiteY12" fmla="*/ 21749 h 21749"/>
              <a:gd name="connsiteX13" fmla="*/ 19403 w 22451"/>
              <a:gd name="connsiteY13" fmla="*/ 18012 h 21749"/>
              <a:gd name="connsiteX14" fmla="*/ 20043 w 22451"/>
              <a:gd name="connsiteY14" fmla="*/ 3764 h 21749"/>
              <a:gd name="connsiteX15" fmla="*/ 20375 w 22451"/>
              <a:gd name="connsiteY15" fmla="*/ 1914 h 21749"/>
              <a:gd name="connsiteX16" fmla="*/ 22451 w 22451"/>
              <a:gd name="connsiteY16" fmla="*/ 0 h 21749"/>
              <a:gd name="connsiteX0" fmla="*/ 0 w 22451"/>
              <a:gd name="connsiteY0" fmla="*/ 11292 h 21749"/>
              <a:gd name="connsiteX1" fmla="*/ 847 w 22451"/>
              <a:gd name="connsiteY1" fmla="*/ 14662 h 21749"/>
              <a:gd name="connsiteX2" fmla="*/ 2274 w 22451"/>
              <a:gd name="connsiteY2" fmla="*/ 14864 h 21749"/>
              <a:gd name="connsiteX3" fmla="*/ 3599 w 22451"/>
              <a:gd name="connsiteY3" fmla="*/ 9950 h 21749"/>
              <a:gd name="connsiteX4" fmla="*/ 5163 w 22451"/>
              <a:gd name="connsiteY4" fmla="*/ 6919 h 21749"/>
              <a:gd name="connsiteX5" fmla="*/ 6921 w 22451"/>
              <a:gd name="connsiteY5" fmla="*/ 14347 h 21749"/>
              <a:gd name="connsiteX6" fmla="*/ 10089 w 22451"/>
              <a:gd name="connsiteY6" fmla="*/ 3896 h 21749"/>
              <a:gd name="connsiteX7" fmla="*/ 12256 w 22451"/>
              <a:gd name="connsiteY7" fmla="*/ 17433 h 21749"/>
              <a:gd name="connsiteX8" fmla="*/ 14144 w 22451"/>
              <a:gd name="connsiteY8" fmla="*/ 8427 h 21749"/>
              <a:gd name="connsiteX9" fmla="*/ 16100 w 22451"/>
              <a:gd name="connsiteY9" fmla="*/ 619 h 21749"/>
              <a:gd name="connsiteX10" fmla="*/ 16950 w 22451"/>
              <a:gd name="connsiteY10" fmla="*/ 9180 h 21749"/>
              <a:gd name="connsiteX11" fmla="*/ 17404 w 22451"/>
              <a:gd name="connsiteY11" fmla="*/ 16845 h 21749"/>
              <a:gd name="connsiteX12" fmla="*/ 18820 w 22451"/>
              <a:gd name="connsiteY12" fmla="*/ 21749 h 21749"/>
              <a:gd name="connsiteX13" fmla="*/ 18996 w 22451"/>
              <a:gd name="connsiteY13" fmla="*/ 15209 h 21749"/>
              <a:gd name="connsiteX14" fmla="*/ 20043 w 22451"/>
              <a:gd name="connsiteY14" fmla="*/ 3764 h 21749"/>
              <a:gd name="connsiteX15" fmla="*/ 20375 w 22451"/>
              <a:gd name="connsiteY15" fmla="*/ 1914 h 21749"/>
              <a:gd name="connsiteX16" fmla="*/ 22451 w 22451"/>
              <a:gd name="connsiteY16" fmla="*/ 0 h 21749"/>
              <a:gd name="connsiteX0" fmla="*/ 0 w 22451"/>
              <a:gd name="connsiteY0" fmla="*/ 11292 h 21749"/>
              <a:gd name="connsiteX1" fmla="*/ 847 w 22451"/>
              <a:gd name="connsiteY1" fmla="*/ 14662 h 21749"/>
              <a:gd name="connsiteX2" fmla="*/ 2274 w 22451"/>
              <a:gd name="connsiteY2" fmla="*/ 14864 h 21749"/>
              <a:gd name="connsiteX3" fmla="*/ 3599 w 22451"/>
              <a:gd name="connsiteY3" fmla="*/ 9950 h 21749"/>
              <a:gd name="connsiteX4" fmla="*/ 5163 w 22451"/>
              <a:gd name="connsiteY4" fmla="*/ 6919 h 21749"/>
              <a:gd name="connsiteX5" fmla="*/ 6921 w 22451"/>
              <a:gd name="connsiteY5" fmla="*/ 14347 h 21749"/>
              <a:gd name="connsiteX6" fmla="*/ 10089 w 22451"/>
              <a:gd name="connsiteY6" fmla="*/ 3896 h 21749"/>
              <a:gd name="connsiteX7" fmla="*/ 12256 w 22451"/>
              <a:gd name="connsiteY7" fmla="*/ 17433 h 21749"/>
              <a:gd name="connsiteX8" fmla="*/ 14144 w 22451"/>
              <a:gd name="connsiteY8" fmla="*/ 8427 h 21749"/>
              <a:gd name="connsiteX9" fmla="*/ 16100 w 22451"/>
              <a:gd name="connsiteY9" fmla="*/ 619 h 21749"/>
              <a:gd name="connsiteX10" fmla="*/ 16950 w 22451"/>
              <a:gd name="connsiteY10" fmla="*/ 9180 h 21749"/>
              <a:gd name="connsiteX11" fmla="*/ 17404 w 22451"/>
              <a:gd name="connsiteY11" fmla="*/ 16845 h 21749"/>
              <a:gd name="connsiteX12" fmla="*/ 18820 w 22451"/>
              <a:gd name="connsiteY12" fmla="*/ 21749 h 21749"/>
              <a:gd name="connsiteX13" fmla="*/ 18996 w 22451"/>
              <a:gd name="connsiteY13" fmla="*/ 15209 h 21749"/>
              <a:gd name="connsiteX14" fmla="*/ 20043 w 22451"/>
              <a:gd name="connsiteY14" fmla="*/ 3764 h 21749"/>
              <a:gd name="connsiteX15" fmla="*/ 20375 w 22451"/>
              <a:gd name="connsiteY15" fmla="*/ 1914 h 21749"/>
              <a:gd name="connsiteX16" fmla="*/ 22451 w 22451"/>
              <a:gd name="connsiteY16" fmla="*/ 0 h 21749"/>
              <a:gd name="connsiteX0" fmla="*/ 0 w 22451"/>
              <a:gd name="connsiteY0" fmla="*/ 11292 h 21749"/>
              <a:gd name="connsiteX1" fmla="*/ 847 w 22451"/>
              <a:gd name="connsiteY1" fmla="*/ 14662 h 21749"/>
              <a:gd name="connsiteX2" fmla="*/ 2274 w 22451"/>
              <a:gd name="connsiteY2" fmla="*/ 14864 h 21749"/>
              <a:gd name="connsiteX3" fmla="*/ 3599 w 22451"/>
              <a:gd name="connsiteY3" fmla="*/ 9950 h 21749"/>
              <a:gd name="connsiteX4" fmla="*/ 5163 w 22451"/>
              <a:gd name="connsiteY4" fmla="*/ 6919 h 21749"/>
              <a:gd name="connsiteX5" fmla="*/ 6921 w 22451"/>
              <a:gd name="connsiteY5" fmla="*/ 14347 h 21749"/>
              <a:gd name="connsiteX6" fmla="*/ 10089 w 22451"/>
              <a:gd name="connsiteY6" fmla="*/ 3896 h 21749"/>
              <a:gd name="connsiteX7" fmla="*/ 12256 w 22451"/>
              <a:gd name="connsiteY7" fmla="*/ 17433 h 21749"/>
              <a:gd name="connsiteX8" fmla="*/ 14144 w 22451"/>
              <a:gd name="connsiteY8" fmla="*/ 8427 h 21749"/>
              <a:gd name="connsiteX9" fmla="*/ 16100 w 22451"/>
              <a:gd name="connsiteY9" fmla="*/ 619 h 21749"/>
              <a:gd name="connsiteX10" fmla="*/ 16950 w 22451"/>
              <a:gd name="connsiteY10" fmla="*/ 9180 h 21749"/>
              <a:gd name="connsiteX11" fmla="*/ 17404 w 22451"/>
              <a:gd name="connsiteY11" fmla="*/ 16845 h 21749"/>
              <a:gd name="connsiteX12" fmla="*/ 18820 w 22451"/>
              <a:gd name="connsiteY12" fmla="*/ 21749 h 21749"/>
              <a:gd name="connsiteX13" fmla="*/ 19209 w 22451"/>
              <a:gd name="connsiteY13" fmla="*/ 16377 h 21749"/>
              <a:gd name="connsiteX14" fmla="*/ 20043 w 22451"/>
              <a:gd name="connsiteY14" fmla="*/ 3764 h 21749"/>
              <a:gd name="connsiteX15" fmla="*/ 20375 w 22451"/>
              <a:gd name="connsiteY15" fmla="*/ 1914 h 21749"/>
              <a:gd name="connsiteX16" fmla="*/ 22451 w 22451"/>
              <a:gd name="connsiteY16" fmla="*/ 0 h 21749"/>
              <a:gd name="connsiteX0" fmla="*/ 0 w 22451"/>
              <a:gd name="connsiteY0" fmla="*/ 11292 h 21749"/>
              <a:gd name="connsiteX1" fmla="*/ 847 w 22451"/>
              <a:gd name="connsiteY1" fmla="*/ 14662 h 21749"/>
              <a:gd name="connsiteX2" fmla="*/ 2274 w 22451"/>
              <a:gd name="connsiteY2" fmla="*/ 14864 h 21749"/>
              <a:gd name="connsiteX3" fmla="*/ 3599 w 22451"/>
              <a:gd name="connsiteY3" fmla="*/ 9950 h 21749"/>
              <a:gd name="connsiteX4" fmla="*/ 5163 w 22451"/>
              <a:gd name="connsiteY4" fmla="*/ 6919 h 21749"/>
              <a:gd name="connsiteX5" fmla="*/ 6921 w 22451"/>
              <a:gd name="connsiteY5" fmla="*/ 14347 h 21749"/>
              <a:gd name="connsiteX6" fmla="*/ 10089 w 22451"/>
              <a:gd name="connsiteY6" fmla="*/ 3896 h 21749"/>
              <a:gd name="connsiteX7" fmla="*/ 12256 w 22451"/>
              <a:gd name="connsiteY7" fmla="*/ 17433 h 21749"/>
              <a:gd name="connsiteX8" fmla="*/ 14144 w 22451"/>
              <a:gd name="connsiteY8" fmla="*/ 8427 h 21749"/>
              <a:gd name="connsiteX9" fmla="*/ 15693 w 22451"/>
              <a:gd name="connsiteY9" fmla="*/ 3422 h 21749"/>
              <a:gd name="connsiteX10" fmla="*/ 16950 w 22451"/>
              <a:gd name="connsiteY10" fmla="*/ 9180 h 21749"/>
              <a:gd name="connsiteX11" fmla="*/ 17404 w 22451"/>
              <a:gd name="connsiteY11" fmla="*/ 16845 h 21749"/>
              <a:gd name="connsiteX12" fmla="*/ 18820 w 22451"/>
              <a:gd name="connsiteY12" fmla="*/ 21749 h 21749"/>
              <a:gd name="connsiteX13" fmla="*/ 19209 w 22451"/>
              <a:gd name="connsiteY13" fmla="*/ 16377 h 21749"/>
              <a:gd name="connsiteX14" fmla="*/ 20043 w 22451"/>
              <a:gd name="connsiteY14" fmla="*/ 3764 h 21749"/>
              <a:gd name="connsiteX15" fmla="*/ 20375 w 22451"/>
              <a:gd name="connsiteY15" fmla="*/ 1914 h 21749"/>
              <a:gd name="connsiteX16" fmla="*/ 22451 w 22451"/>
              <a:gd name="connsiteY16" fmla="*/ 0 h 21749"/>
              <a:gd name="connsiteX0" fmla="*/ 0 w 22451"/>
              <a:gd name="connsiteY0" fmla="*/ 11292 h 21749"/>
              <a:gd name="connsiteX1" fmla="*/ 847 w 22451"/>
              <a:gd name="connsiteY1" fmla="*/ 14662 h 21749"/>
              <a:gd name="connsiteX2" fmla="*/ 2274 w 22451"/>
              <a:gd name="connsiteY2" fmla="*/ 14864 h 21749"/>
              <a:gd name="connsiteX3" fmla="*/ 3599 w 22451"/>
              <a:gd name="connsiteY3" fmla="*/ 9950 h 21749"/>
              <a:gd name="connsiteX4" fmla="*/ 5163 w 22451"/>
              <a:gd name="connsiteY4" fmla="*/ 6919 h 21749"/>
              <a:gd name="connsiteX5" fmla="*/ 6921 w 22451"/>
              <a:gd name="connsiteY5" fmla="*/ 14347 h 21749"/>
              <a:gd name="connsiteX6" fmla="*/ 10089 w 22451"/>
              <a:gd name="connsiteY6" fmla="*/ 3896 h 21749"/>
              <a:gd name="connsiteX7" fmla="*/ 12256 w 22451"/>
              <a:gd name="connsiteY7" fmla="*/ 17433 h 21749"/>
              <a:gd name="connsiteX8" fmla="*/ 14183 w 22451"/>
              <a:gd name="connsiteY8" fmla="*/ 9595 h 21749"/>
              <a:gd name="connsiteX9" fmla="*/ 15693 w 22451"/>
              <a:gd name="connsiteY9" fmla="*/ 3422 h 21749"/>
              <a:gd name="connsiteX10" fmla="*/ 16950 w 22451"/>
              <a:gd name="connsiteY10" fmla="*/ 9180 h 21749"/>
              <a:gd name="connsiteX11" fmla="*/ 17404 w 22451"/>
              <a:gd name="connsiteY11" fmla="*/ 16845 h 21749"/>
              <a:gd name="connsiteX12" fmla="*/ 18820 w 22451"/>
              <a:gd name="connsiteY12" fmla="*/ 21749 h 21749"/>
              <a:gd name="connsiteX13" fmla="*/ 19209 w 22451"/>
              <a:gd name="connsiteY13" fmla="*/ 16377 h 21749"/>
              <a:gd name="connsiteX14" fmla="*/ 20043 w 22451"/>
              <a:gd name="connsiteY14" fmla="*/ 3764 h 21749"/>
              <a:gd name="connsiteX15" fmla="*/ 20375 w 22451"/>
              <a:gd name="connsiteY15" fmla="*/ 1914 h 21749"/>
              <a:gd name="connsiteX16" fmla="*/ 22451 w 22451"/>
              <a:gd name="connsiteY16" fmla="*/ 0 h 21749"/>
              <a:gd name="connsiteX0" fmla="*/ 0 w 22451"/>
              <a:gd name="connsiteY0" fmla="*/ 11292 h 21749"/>
              <a:gd name="connsiteX1" fmla="*/ 847 w 22451"/>
              <a:gd name="connsiteY1" fmla="*/ 14662 h 21749"/>
              <a:gd name="connsiteX2" fmla="*/ 2274 w 22451"/>
              <a:gd name="connsiteY2" fmla="*/ 14864 h 21749"/>
              <a:gd name="connsiteX3" fmla="*/ 3599 w 22451"/>
              <a:gd name="connsiteY3" fmla="*/ 9950 h 21749"/>
              <a:gd name="connsiteX4" fmla="*/ 5163 w 22451"/>
              <a:gd name="connsiteY4" fmla="*/ 6919 h 21749"/>
              <a:gd name="connsiteX5" fmla="*/ 6921 w 22451"/>
              <a:gd name="connsiteY5" fmla="*/ 14347 h 21749"/>
              <a:gd name="connsiteX6" fmla="*/ 10089 w 22451"/>
              <a:gd name="connsiteY6" fmla="*/ 3896 h 21749"/>
              <a:gd name="connsiteX7" fmla="*/ 12256 w 22451"/>
              <a:gd name="connsiteY7" fmla="*/ 17433 h 21749"/>
              <a:gd name="connsiteX8" fmla="*/ 14183 w 22451"/>
              <a:gd name="connsiteY8" fmla="*/ 9595 h 21749"/>
              <a:gd name="connsiteX9" fmla="*/ 15693 w 22451"/>
              <a:gd name="connsiteY9" fmla="*/ 3422 h 21749"/>
              <a:gd name="connsiteX10" fmla="*/ 16795 w 22451"/>
              <a:gd name="connsiteY10" fmla="*/ 11049 h 21749"/>
              <a:gd name="connsiteX11" fmla="*/ 17404 w 22451"/>
              <a:gd name="connsiteY11" fmla="*/ 16845 h 21749"/>
              <a:gd name="connsiteX12" fmla="*/ 18820 w 22451"/>
              <a:gd name="connsiteY12" fmla="*/ 21749 h 21749"/>
              <a:gd name="connsiteX13" fmla="*/ 19209 w 22451"/>
              <a:gd name="connsiteY13" fmla="*/ 16377 h 21749"/>
              <a:gd name="connsiteX14" fmla="*/ 20043 w 22451"/>
              <a:gd name="connsiteY14" fmla="*/ 3764 h 21749"/>
              <a:gd name="connsiteX15" fmla="*/ 20375 w 22451"/>
              <a:gd name="connsiteY15" fmla="*/ 1914 h 21749"/>
              <a:gd name="connsiteX16" fmla="*/ 22451 w 22451"/>
              <a:gd name="connsiteY16" fmla="*/ 0 h 21749"/>
              <a:gd name="connsiteX0" fmla="*/ 0 w 22451"/>
              <a:gd name="connsiteY0" fmla="*/ 11292 h 21749"/>
              <a:gd name="connsiteX1" fmla="*/ 847 w 22451"/>
              <a:gd name="connsiteY1" fmla="*/ 14662 h 21749"/>
              <a:gd name="connsiteX2" fmla="*/ 2274 w 22451"/>
              <a:gd name="connsiteY2" fmla="*/ 14864 h 21749"/>
              <a:gd name="connsiteX3" fmla="*/ 3599 w 22451"/>
              <a:gd name="connsiteY3" fmla="*/ 9950 h 21749"/>
              <a:gd name="connsiteX4" fmla="*/ 5163 w 22451"/>
              <a:gd name="connsiteY4" fmla="*/ 6919 h 21749"/>
              <a:gd name="connsiteX5" fmla="*/ 6921 w 22451"/>
              <a:gd name="connsiteY5" fmla="*/ 14347 h 21749"/>
              <a:gd name="connsiteX6" fmla="*/ 10089 w 22451"/>
              <a:gd name="connsiteY6" fmla="*/ 3896 h 21749"/>
              <a:gd name="connsiteX7" fmla="*/ 12256 w 22451"/>
              <a:gd name="connsiteY7" fmla="*/ 17433 h 21749"/>
              <a:gd name="connsiteX8" fmla="*/ 14183 w 22451"/>
              <a:gd name="connsiteY8" fmla="*/ 9595 h 21749"/>
              <a:gd name="connsiteX9" fmla="*/ 15693 w 22451"/>
              <a:gd name="connsiteY9" fmla="*/ 3422 h 21749"/>
              <a:gd name="connsiteX10" fmla="*/ 16795 w 22451"/>
              <a:gd name="connsiteY10" fmla="*/ 11049 h 21749"/>
              <a:gd name="connsiteX11" fmla="*/ 17385 w 22451"/>
              <a:gd name="connsiteY11" fmla="*/ 17312 h 21749"/>
              <a:gd name="connsiteX12" fmla="*/ 18820 w 22451"/>
              <a:gd name="connsiteY12" fmla="*/ 21749 h 21749"/>
              <a:gd name="connsiteX13" fmla="*/ 19209 w 22451"/>
              <a:gd name="connsiteY13" fmla="*/ 16377 h 21749"/>
              <a:gd name="connsiteX14" fmla="*/ 20043 w 22451"/>
              <a:gd name="connsiteY14" fmla="*/ 3764 h 21749"/>
              <a:gd name="connsiteX15" fmla="*/ 20375 w 22451"/>
              <a:gd name="connsiteY15" fmla="*/ 1914 h 21749"/>
              <a:gd name="connsiteX16" fmla="*/ 22451 w 22451"/>
              <a:gd name="connsiteY16" fmla="*/ 0 h 21749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4864 h 19647"/>
              <a:gd name="connsiteX3" fmla="*/ 3599 w 22451"/>
              <a:gd name="connsiteY3" fmla="*/ 9950 h 19647"/>
              <a:gd name="connsiteX4" fmla="*/ 5163 w 22451"/>
              <a:gd name="connsiteY4" fmla="*/ 6919 h 19647"/>
              <a:gd name="connsiteX5" fmla="*/ 6921 w 22451"/>
              <a:gd name="connsiteY5" fmla="*/ 14347 h 19647"/>
              <a:gd name="connsiteX6" fmla="*/ 10089 w 22451"/>
              <a:gd name="connsiteY6" fmla="*/ 3896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209 w 22451"/>
              <a:gd name="connsiteY13" fmla="*/ 16377 h 19647"/>
              <a:gd name="connsiteX14" fmla="*/ 20043 w 22451"/>
              <a:gd name="connsiteY14" fmla="*/ 3764 h 19647"/>
              <a:gd name="connsiteX15" fmla="*/ 20375 w 22451"/>
              <a:gd name="connsiteY15" fmla="*/ 1914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4864 h 19647"/>
              <a:gd name="connsiteX3" fmla="*/ 3599 w 22451"/>
              <a:gd name="connsiteY3" fmla="*/ 9950 h 19647"/>
              <a:gd name="connsiteX4" fmla="*/ 5163 w 22451"/>
              <a:gd name="connsiteY4" fmla="*/ 6919 h 19647"/>
              <a:gd name="connsiteX5" fmla="*/ 6921 w 22451"/>
              <a:gd name="connsiteY5" fmla="*/ 14347 h 19647"/>
              <a:gd name="connsiteX6" fmla="*/ 10089 w 22451"/>
              <a:gd name="connsiteY6" fmla="*/ 3896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209 w 22451"/>
              <a:gd name="connsiteY13" fmla="*/ 16377 h 19647"/>
              <a:gd name="connsiteX14" fmla="*/ 19752 w 22451"/>
              <a:gd name="connsiteY14" fmla="*/ 6567 h 19647"/>
              <a:gd name="connsiteX15" fmla="*/ 20375 w 22451"/>
              <a:gd name="connsiteY15" fmla="*/ 1914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4864 h 19647"/>
              <a:gd name="connsiteX3" fmla="*/ 3599 w 22451"/>
              <a:gd name="connsiteY3" fmla="*/ 9950 h 19647"/>
              <a:gd name="connsiteX4" fmla="*/ 5163 w 22451"/>
              <a:gd name="connsiteY4" fmla="*/ 6919 h 19647"/>
              <a:gd name="connsiteX5" fmla="*/ 6921 w 22451"/>
              <a:gd name="connsiteY5" fmla="*/ 14347 h 19647"/>
              <a:gd name="connsiteX6" fmla="*/ 10089 w 22451"/>
              <a:gd name="connsiteY6" fmla="*/ 3896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209 w 22451"/>
              <a:gd name="connsiteY13" fmla="*/ 16377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4864 h 19647"/>
              <a:gd name="connsiteX3" fmla="*/ 3599 w 22451"/>
              <a:gd name="connsiteY3" fmla="*/ 9950 h 19647"/>
              <a:gd name="connsiteX4" fmla="*/ 5163 w 22451"/>
              <a:gd name="connsiteY4" fmla="*/ 6919 h 19647"/>
              <a:gd name="connsiteX5" fmla="*/ 6921 w 22451"/>
              <a:gd name="connsiteY5" fmla="*/ 14347 h 19647"/>
              <a:gd name="connsiteX6" fmla="*/ 10089 w 22451"/>
              <a:gd name="connsiteY6" fmla="*/ 3896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209 w 22451"/>
              <a:gd name="connsiteY13" fmla="*/ 16377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4864 h 19647"/>
              <a:gd name="connsiteX3" fmla="*/ 3599 w 22451"/>
              <a:gd name="connsiteY3" fmla="*/ 9950 h 19647"/>
              <a:gd name="connsiteX4" fmla="*/ 5163 w 22451"/>
              <a:gd name="connsiteY4" fmla="*/ 6919 h 19647"/>
              <a:gd name="connsiteX5" fmla="*/ 6921 w 22451"/>
              <a:gd name="connsiteY5" fmla="*/ 14347 h 19647"/>
              <a:gd name="connsiteX6" fmla="*/ 10089 w 22451"/>
              <a:gd name="connsiteY6" fmla="*/ 3896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99 w 22451"/>
              <a:gd name="connsiteY3" fmla="*/ 9950 h 19647"/>
              <a:gd name="connsiteX4" fmla="*/ 5163 w 22451"/>
              <a:gd name="connsiteY4" fmla="*/ 6919 h 19647"/>
              <a:gd name="connsiteX5" fmla="*/ 6921 w 22451"/>
              <a:gd name="connsiteY5" fmla="*/ 14347 h 19647"/>
              <a:gd name="connsiteX6" fmla="*/ 10089 w 22451"/>
              <a:gd name="connsiteY6" fmla="*/ 3896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5163 w 22451"/>
              <a:gd name="connsiteY4" fmla="*/ 6919 h 19647"/>
              <a:gd name="connsiteX5" fmla="*/ 6921 w 22451"/>
              <a:gd name="connsiteY5" fmla="*/ 14347 h 19647"/>
              <a:gd name="connsiteX6" fmla="*/ 10089 w 22451"/>
              <a:gd name="connsiteY6" fmla="*/ 3896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4947 w 22451"/>
              <a:gd name="connsiteY4" fmla="*/ 15077 h 19647"/>
              <a:gd name="connsiteX5" fmla="*/ 6921 w 22451"/>
              <a:gd name="connsiteY5" fmla="*/ 14347 h 19647"/>
              <a:gd name="connsiteX6" fmla="*/ 10089 w 22451"/>
              <a:gd name="connsiteY6" fmla="*/ 3896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4947 w 22451"/>
              <a:gd name="connsiteY4" fmla="*/ 15077 h 19647"/>
              <a:gd name="connsiteX5" fmla="*/ 6843 w 22451"/>
              <a:gd name="connsiteY5" fmla="*/ 7302 h 19647"/>
              <a:gd name="connsiteX6" fmla="*/ 10089 w 22451"/>
              <a:gd name="connsiteY6" fmla="*/ 3896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4947 w 22451"/>
              <a:gd name="connsiteY4" fmla="*/ 15077 h 19647"/>
              <a:gd name="connsiteX5" fmla="*/ 6843 w 22451"/>
              <a:gd name="connsiteY5" fmla="*/ 7302 h 19647"/>
              <a:gd name="connsiteX6" fmla="*/ 10089 w 22451"/>
              <a:gd name="connsiteY6" fmla="*/ 3896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4947 w 22451"/>
              <a:gd name="connsiteY4" fmla="*/ 15077 h 19647"/>
              <a:gd name="connsiteX5" fmla="*/ 6843 w 22451"/>
              <a:gd name="connsiteY5" fmla="*/ 7302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4947 w 22451"/>
              <a:gd name="connsiteY4" fmla="*/ 15077 h 19647"/>
              <a:gd name="connsiteX5" fmla="*/ 6843 w 22451"/>
              <a:gd name="connsiteY5" fmla="*/ 7302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524 h 19879"/>
              <a:gd name="connsiteX1" fmla="*/ 847 w 22451"/>
              <a:gd name="connsiteY1" fmla="*/ 14894 h 19879"/>
              <a:gd name="connsiteX2" fmla="*/ 2274 w 22451"/>
              <a:gd name="connsiteY2" fmla="*/ 12500 h 19879"/>
              <a:gd name="connsiteX3" fmla="*/ 3501 w 22451"/>
              <a:gd name="connsiteY3" fmla="*/ 4991 h 19879"/>
              <a:gd name="connsiteX4" fmla="*/ 4947 w 22451"/>
              <a:gd name="connsiteY4" fmla="*/ 15309 h 19879"/>
              <a:gd name="connsiteX5" fmla="*/ 6843 w 22451"/>
              <a:gd name="connsiteY5" fmla="*/ 7534 h 19879"/>
              <a:gd name="connsiteX6" fmla="*/ 10011 w 22451"/>
              <a:gd name="connsiteY6" fmla="*/ 13027 h 19879"/>
              <a:gd name="connsiteX7" fmla="*/ 12256 w 22451"/>
              <a:gd name="connsiteY7" fmla="*/ 17665 h 19879"/>
              <a:gd name="connsiteX8" fmla="*/ 14183 w 22451"/>
              <a:gd name="connsiteY8" fmla="*/ 9827 h 19879"/>
              <a:gd name="connsiteX9" fmla="*/ 15693 w 22451"/>
              <a:gd name="connsiteY9" fmla="*/ 3654 h 19879"/>
              <a:gd name="connsiteX10" fmla="*/ 16795 w 22451"/>
              <a:gd name="connsiteY10" fmla="*/ 11281 h 19879"/>
              <a:gd name="connsiteX11" fmla="*/ 17385 w 22451"/>
              <a:gd name="connsiteY11" fmla="*/ 17544 h 19879"/>
              <a:gd name="connsiteX12" fmla="*/ 18413 w 22451"/>
              <a:gd name="connsiteY12" fmla="*/ 19879 h 19879"/>
              <a:gd name="connsiteX13" fmla="*/ 19112 w 22451"/>
              <a:gd name="connsiteY13" fmla="*/ 15208 h 19879"/>
              <a:gd name="connsiteX14" fmla="*/ 19752 w 22451"/>
              <a:gd name="connsiteY14" fmla="*/ 6799 h 19879"/>
              <a:gd name="connsiteX15" fmla="*/ 20666 w 22451"/>
              <a:gd name="connsiteY15" fmla="*/ 5650 h 19879"/>
              <a:gd name="connsiteX16" fmla="*/ 22451 w 22451"/>
              <a:gd name="connsiteY16" fmla="*/ 232 h 19879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4947 w 22451"/>
              <a:gd name="connsiteY4" fmla="*/ 15077 h 19647"/>
              <a:gd name="connsiteX5" fmla="*/ 6902 w 22451"/>
              <a:gd name="connsiteY5" fmla="*/ 15089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24219"/>
              <a:gd name="connsiteX1" fmla="*/ 847 w 22451"/>
              <a:gd name="connsiteY1" fmla="*/ 14662 h 24219"/>
              <a:gd name="connsiteX2" fmla="*/ 2274 w 22451"/>
              <a:gd name="connsiteY2" fmla="*/ 12268 h 24219"/>
              <a:gd name="connsiteX3" fmla="*/ 3501 w 22451"/>
              <a:gd name="connsiteY3" fmla="*/ 4759 h 24219"/>
              <a:gd name="connsiteX4" fmla="*/ 4947 w 22451"/>
              <a:gd name="connsiteY4" fmla="*/ 15077 h 24219"/>
              <a:gd name="connsiteX5" fmla="*/ 6902 w 22451"/>
              <a:gd name="connsiteY5" fmla="*/ 15089 h 24219"/>
              <a:gd name="connsiteX6" fmla="*/ 10011 w 22451"/>
              <a:gd name="connsiteY6" fmla="*/ 12795 h 24219"/>
              <a:gd name="connsiteX7" fmla="*/ 12256 w 22451"/>
              <a:gd name="connsiteY7" fmla="*/ 17433 h 24219"/>
              <a:gd name="connsiteX8" fmla="*/ 14183 w 22451"/>
              <a:gd name="connsiteY8" fmla="*/ 9595 h 24219"/>
              <a:gd name="connsiteX9" fmla="*/ 15693 w 22451"/>
              <a:gd name="connsiteY9" fmla="*/ 3422 h 24219"/>
              <a:gd name="connsiteX10" fmla="*/ 16795 w 22451"/>
              <a:gd name="connsiteY10" fmla="*/ 11049 h 24219"/>
              <a:gd name="connsiteX11" fmla="*/ 17385 w 22451"/>
              <a:gd name="connsiteY11" fmla="*/ 17312 h 24219"/>
              <a:gd name="connsiteX12" fmla="*/ 18413 w 22451"/>
              <a:gd name="connsiteY12" fmla="*/ 19647 h 24219"/>
              <a:gd name="connsiteX13" fmla="*/ 19112 w 22451"/>
              <a:gd name="connsiteY13" fmla="*/ 14976 h 24219"/>
              <a:gd name="connsiteX14" fmla="*/ 19752 w 22451"/>
              <a:gd name="connsiteY14" fmla="*/ 6567 h 24219"/>
              <a:gd name="connsiteX15" fmla="*/ 20666 w 22451"/>
              <a:gd name="connsiteY15" fmla="*/ 5418 h 24219"/>
              <a:gd name="connsiteX16" fmla="*/ 22451 w 22451"/>
              <a:gd name="connsiteY16" fmla="*/ 0 h 24219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4947 w 22451"/>
              <a:gd name="connsiteY4" fmla="*/ 15077 h 19647"/>
              <a:gd name="connsiteX5" fmla="*/ 6902 w 22451"/>
              <a:gd name="connsiteY5" fmla="*/ 15089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20274"/>
              <a:gd name="connsiteX1" fmla="*/ 847 w 22451"/>
              <a:gd name="connsiteY1" fmla="*/ 14662 h 20274"/>
              <a:gd name="connsiteX2" fmla="*/ 2274 w 22451"/>
              <a:gd name="connsiteY2" fmla="*/ 12268 h 20274"/>
              <a:gd name="connsiteX3" fmla="*/ 3501 w 22451"/>
              <a:gd name="connsiteY3" fmla="*/ 4759 h 20274"/>
              <a:gd name="connsiteX4" fmla="*/ 4947 w 22451"/>
              <a:gd name="connsiteY4" fmla="*/ 15077 h 20274"/>
              <a:gd name="connsiteX5" fmla="*/ 6902 w 22451"/>
              <a:gd name="connsiteY5" fmla="*/ 15089 h 20274"/>
              <a:gd name="connsiteX6" fmla="*/ 10011 w 22451"/>
              <a:gd name="connsiteY6" fmla="*/ 12795 h 20274"/>
              <a:gd name="connsiteX7" fmla="*/ 12256 w 22451"/>
              <a:gd name="connsiteY7" fmla="*/ 17433 h 20274"/>
              <a:gd name="connsiteX8" fmla="*/ 14183 w 22451"/>
              <a:gd name="connsiteY8" fmla="*/ 9595 h 20274"/>
              <a:gd name="connsiteX9" fmla="*/ 15693 w 22451"/>
              <a:gd name="connsiteY9" fmla="*/ 3422 h 20274"/>
              <a:gd name="connsiteX10" fmla="*/ 16795 w 22451"/>
              <a:gd name="connsiteY10" fmla="*/ 11049 h 20274"/>
              <a:gd name="connsiteX11" fmla="*/ 17385 w 22451"/>
              <a:gd name="connsiteY11" fmla="*/ 17312 h 20274"/>
              <a:gd name="connsiteX12" fmla="*/ 18413 w 22451"/>
              <a:gd name="connsiteY12" fmla="*/ 19647 h 20274"/>
              <a:gd name="connsiteX13" fmla="*/ 19112 w 22451"/>
              <a:gd name="connsiteY13" fmla="*/ 14976 h 20274"/>
              <a:gd name="connsiteX14" fmla="*/ 19752 w 22451"/>
              <a:gd name="connsiteY14" fmla="*/ 6567 h 20274"/>
              <a:gd name="connsiteX15" fmla="*/ 20666 w 22451"/>
              <a:gd name="connsiteY15" fmla="*/ 5418 h 20274"/>
              <a:gd name="connsiteX16" fmla="*/ 22451 w 22451"/>
              <a:gd name="connsiteY16" fmla="*/ 0 h 20274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4947 w 22451"/>
              <a:gd name="connsiteY4" fmla="*/ 15077 h 19647"/>
              <a:gd name="connsiteX5" fmla="*/ 6902 w 22451"/>
              <a:gd name="connsiteY5" fmla="*/ 15089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4947 w 22451"/>
              <a:gd name="connsiteY4" fmla="*/ 15077 h 19647"/>
              <a:gd name="connsiteX5" fmla="*/ 7451 w 22451"/>
              <a:gd name="connsiteY5" fmla="*/ 6190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4947 w 22451"/>
              <a:gd name="connsiteY4" fmla="*/ 15077 h 19647"/>
              <a:gd name="connsiteX5" fmla="*/ 7451 w 22451"/>
              <a:gd name="connsiteY5" fmla="*/ 6190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5025 w 22451"/>
              <a:gd name="connsiteY4" fmla="*/ 11740 h 19647"/>
              <a:gd name="connsiteX5" fmla="*/ 7451 w 22451"/>
              <a:gd name="connsiteY5" fmla="*/ 6190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5025 w 22451"/>
              <a:gd name="connsiteY4" fmla="*/ 11740 h 19647"/>
              <a:gd name="connsiteX5" fmla="*/ 7451 w 22451"/>
              <a:gd name="connsiteY5" fmla="*/ 6190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5025 w 22451"/>
              <a:gd name="connsiteY4" fmla="*/ 11740 h 19647"/>
              <a:gd name="connsiteX5" fmla="*/ 7686 w 22451"/>
              <a:gd name="connsiteY5" fmla="*/ 4707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5025 w 22451"/>
              <a:gd name="connsiteY4" fmla="*/ 11740 h 19647"/>
              <a:gd name="connsiteX5" fmla="*/ 7686 w 22451"/>
              <a:gd name="connsiteY5" fmla="*/ 4707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3079 h 21434"/>
              <a:gd name="connsiteX1" fmla="*/ 847 w 22451"/>
              <a:gd name="connsiteY1" fmla="*/ 16449 h 21434"/>
              <a:gd name="connsiteX2" fmla="*/ 2274 w 22451"/>
              <a:gd name="connsiteY2" fmla="*/ 14055 h 21434"/>
              <a:gd name="connsiteX3" fmla="*/ 3501 w 22451"/>
              <a:gd name="connsiteY3" fmla="*/ 6546 h 21434"/>
              <a:gd name="connsiteX4" fmla="*/ 5025 w 22451"/>
              <a:gd name="connsiteY4" fmla="*/ 13527 h 21434"/>
              <a:gd name="connsiteX5" fmla="*/ 7686 w 22451"/>
              <a:gd name="connsiteY5" fmla="*/ 6494 h 21434"/>
              <a:gd name="connsiteX6" fmla="*/ 10011 w 22451"/>
              <a:gd name="connsiteY6" fmla="*/ 14582 h 21434"/>
              <a:gd name="connsiteX7" fmla="*/ 12256 w 22451"/>
              <a:gd name="connsiteY7" fmla="*/ 19220 h 21434"/>
              <a:gd name="connsiteX8" fmla="*/ 14183 w 22451"/>
              <a:gd name="connsiteY8" fmla="*/ 11382 h 21434"/>
              <a:gd name="connsiteX9" fmla="*/ 15693 w 22451"/>
              <a:gd name="connsiteY9" fmla="*/ 5209 h 21434"/>
              <a:gd name="connsiteX10" fmla="*/ 16795 w 22451"/>
              <a:gd name="connsiteY10" fmla="*/ 12836 h 21434"/>
              <a:gd name="connsiteX11" fmla="*/ 17385 w 22451"/>
              <a:gd name="connsiteY11" fmla="*/ 19099 h 21434"/>
              <a:gd name="connsiteX12" fmla="*/ 18413 w 22451"/>
              <a:gd name="connsiteY12" fmla="*/ 21434 h 21434"/>
              <a:gd name="connsiteX13" fmla="*/ 19112 w 22451"/>
              <a:gd name="connsiteY13" fmla="*/ 16763 h 21434"/>
              <a:gd name="connsiteX14" fmla="*/ 19752 w 22451"/>
              <a:gd name="connsiteY14" fmla="*/ 8354 h 21434"/>
              <a:gd name="connsiteX15" fmla="*/ 20666 w 22451"/>
              <a:gd name="connsiteY15" fmla="*/ 7205 h 21434"/>
              <a:gd name="connsiteX16" fmla="*/ 22451 w 22451"/>
              <a:gd name="connsiteY16" fmla="*/ 1787 h 21434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5045 w 22451"/>
              <a:gd name="connsiteY4" fmla="*/ 6549 h 19647"/>
              <a:gd name="connsiteX5" fmla="*/ 7686 w 22451"/>
              <a:gd name="connsiteY5" fmla="*/ 4707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5045 w 22451"/>
              <a:gd name="connsiteY4" fmla="*/ 6549 h 19647"/>
              <a:gd name="connsiteX5" fmla="*/ 7686 w 22451"/>
              <a:gd name="connsiteY5" fmla="*/ 4707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5045 w 22451"/>
              <a:gd name="connsiteY4" fmla="*/ 6549 h 19647"/>
              <a:gd name="connsiteX5" fmla="*/ 7686 w 22451"/>
              <a:gd name="connsiteY5" fmla="*/ 4707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5045 w 22451"/>
              <a:gd name="connsiteY4" fmla="*/ 6549 h 19647"/>
              <a:gd name="connsiteX5" fmla="*/ 7686 w 22451"/>
              <a:gd name="connsiteY5" fmla="*/ 4707 h 19647"/>
              <a:gd name="connsiteX6" fmla="*/ 10011 w 22451"/>
              <a:gd name="connsiteY6" fmla="*/ 12795 h 19647"/>
              <a:gd name="connsiteX7" fmla="*/ 12256 w 22451"/>
              <a:gd name="connsiteY7" fmla="*/ 17433 h 19647"/>
              <a:gd name="connsiteX8" fmla="*/ 14183 w 22451"/>
              <a:gd name="connsiteY8" fmla="*/ 9595 h 19647"/>
              <a:gd name="connsiteX9" fmla="*/ 15693 w 22451"/>
              <a:gd name="connsiteY9" fmla="*/ 3422 h 19647"/>
              <a:gd name="connsiteX10" fmla="*/ 16795 w 22451"/>
              <a:gd name="connsiteY10" fmla="*/ 11049 h 19647"/>
              <a:gd name="connsiteX11" fmla="*/ 17385 w 22451"/>
              <a:gd name="connsiteY11" fmla="*/ 17312 h 19647"/>
              <a:gd name="connsiteX12" fmla="*/ 18413 w 22451"/>
              <a:gd name="connsiteY12" fmla="*/ 19647 h 19647"/>
              <a:gd name="connsiteX13" fmla="*/ 19112 w 22451"/>
              <a:gd name="connsiteY13" fmla="*/ 14976 h 19647"/>
              <a:gd name="connsiteX14" fmla="*/ 19752 w 22451"/>
              <a:gd name="connsiteY14" fmla="*/ 6567 h 19647"/>
              <a:gd name="connsiteX15" fmla="*/ 20666 w 22451"/>
              <a:gd name="connsiteY15" fmla="*/ 5418 h 19647"/>
              <a:gd name="connsiteX16" fmla="*/ 22451 w 22451"/>
              <a:gd name="connsiteY16" fmla="*/ 0 h 19647"/>
              <a:gd name="connsiteX0" fmla="*/ 0 w 22451"/>
              <a:gd name="connsiteY0" fmla="*/ 11292 h 21597"/>
              <a:gd name="connsiteX1" fmla="*/ 847 w 22451"/>
              <a:gd name="connsiteY1" fmla="*/ 14662 h 21597"/>
              <a:gd name="connsiteX2" fmla="*/ 2274 w 22451"/>
              <a:gd name="connsiteY2" fmla="*/ 12268 h 21597"/>
              <a:gd name="connsiteX3" fmla="*/ 3501 w 22451"/>
              <a:gd name="connsiteY3" fmla="*/ 4759 h 21597"/>
              <a:gd name="connsiteX4" fmla="*/ 5045 w 22451"/>
              <a:gd name="connsiteY4" fmla="*/ 6549 h 21597"/>
              <a:gd name="connsiteX5" fmla="*/ 7686 w 22451"/>
              <a:gd name="connsiteY5" fmla="*/ 4707 h 21597"/>
              <a:gd name="connsiteX6" fmla="*/ 10011 w 22451"/>
              <a:gd name="connsiteY6" fmla="*/ 12795 h 21597"/>
              <a:gd name="connsiteX7" fmla="*/ 12256 w 22451"/>
              <a:gd name="connsiteY7" fmla="*/ 17433 h 21597"/>
              <a:gd name="connsiteX8" fmla="*/ 14183 w 22451"/>
              <a:gd name="connsiteY8" fmla="*/ 9595 h 21597"/>
              <a:gd name="connsiteX9" fmla="*/ 15693 w 22451"/>
              <a:gd name="connsiteY9" fmla="*/ 3422 h 21597"/>
              <a:gd name="connsiteX10" fmla="*/ 16795 w 22451"/>
              <a:gd name="connsiteY10" fmla="*/ 11049 h 21597"/>
              <a:gd name="connsiteX11" fmla="*/ 17385 w 22451"/>
              <a:gd name="connsiteY11" fmla="*/ 17312 h 21597"/>
              <a:gd name="connsiteX12" fmla="*/ 18413 w 22451"/>
              <a:gd name="connsiteY12" fmla="*/ 19647 h 21597"/>
              <a:gd name="connsiteX13" fmla="*/ 19112 w 22451"/>
              <a:gd name="connsiteY13" fmla="*/ 14976 h 21597"/>
              <a:gd name="connsiteX14" fmla="*/ 19752 w 22451"/>
              <a:gd name="connsiteY14" fmla="*/ 6567 h 21597"/>
              <a:gd name="connsiteX15" fmla="*/ 20666 w 22451"/>
              <a:gd name="connsiteY15" fmla="*/ 5418 h 21597"/>
              <a:gd name="connsiteX16" fmla="*/ 22451 w 22451"/>
              <a:gd name="connsiteY16" fmla="*/ 0 h 21597"/>
              <a:gd name="connsiteX0" fmla="*/ 0 w 22451"/>
              <a:gd name="connsiteY0" fmla="*/ 12678 h 21033"/>
              <a:gd name="connsiteX1" fmla="*/ 847 w 22451"/>
              <a:gd name="connsiteY1" fmla="*/ 16048 h 21033"/>
              <a:gd name="connsiteX2" fmla="*/ 2274 w 22451"/>
              <a:gd name="connsiteY2" fmla="*/ 13654 h 21033"/>
              <a:gd name="connsiteX3" fmla="*/ 3501 w 22451"/>
              <a:gd name="connsiteY3" fmla="*/ 6145 h 21033"/>
              <a:gd name="connsiteX4" fmla="*/ 5045 w 22451"/>
              <a:gd name="connsiteY4" fmla="*/ 7935 h 21033"/>
              <a:gd name="connsiteX5" fmla="*/ 7686 w 22451"/>
              <a:gd name="connsiteY5" fmla="*/ 6093 h 21033"/>
              <a:gd name="connsiteX6" fmla="*/ 10011 w 22451"/>
              <a:gd name="connsiteY6" fmla="*/ 462 h 21033"/>
              <a:gd name="connsiteX7" fmla="*/ 12256 w 22451"/>
              <a:gd name="connsiteY7" fmla="*/ 18819 h 21033"/>
              <a:gd name="connsiteX8" fmla="*/ 14183 w 22451"/>
              <a:gd name="connsiteY8" fmla="*/ 10981 h 21033"/>
              <a:gd name="connsiteX9" fmla="*/ 15693 w 22451"/>
              <a:gd name="connsiteY9" fmla="*/ 4808 h 21033"/>
              <a:gd name="connsiteX10" fmla="*/ 16795 w 22451"/>
              <a:gd name="connsiteY10" fmla="*/ 12435 h 21033"/>
              <a:gd name="connsiteX11" fmla="*/ 17385 w 22451"/>
              <a:gd name="connsiteY11" fmla="*/ 18698 h 21033"/>
              <a:gd name="connsiteX12" fmla="*/ 18413 w 22451"/>
              <a:gd name="connsiteY12" fmla="*/ 21033 h 21033"/>
              <a:gd name="connsiteX13" fmla="*/ 19112 w 22451"/>
              <a:gd name="connsiteY13" fmla="*/ 16362 h 21033"/>
              <a:gd name="connsiteX14" fmla="*/ 19752 w 22451"/>
              <a:gd name="connsiteY14" fmla="*/ 7953 h 21033"/>
              <a:gd name="connsiteX15" fmla="*/ 20666 w 22451"/>
              <a:gd name="connsiteY15" fmla="*/ 6804 h 21033"/>
              <a:gd name="connsiteX16" fmla="*/ 22451 w 22451"/>
              <a:gd name="connsiteY16" fmla="*/ 1386 h 21033"/>
              <a:gd name="connsiteX0" fmla="*/ 0 w 22451"/>
              <a:gd name="connsiteY0" fmla="*/ 11292 h 20399"/>
              <a:gd name="connsiteX1" fmla="*/ 847 w 22451"/>
              <a:gd name="connsiteY1" fmla="*/ 14662 h 20399"/>
              <a:gd name="connsiteX2" fmla="*/ 2274 w 22451"/>
              <a:gd name="connsiteY2" fmla="*/ 12268 h 20399"/>
              <a:gd name="connsiteX3" fmla="*/ 3501 w 22451"/>
              <a:gd name="connsiteY3" fmla="*/ 4759 h 20399"/>
              <a:gd name="connsiteX4" fmla="*/ 5045 w 22451"/>
              <a:gd name="connsiteY4" fmla="*/ 6549 h 20399"/>
              <a:gd name="connsiteX5" fmla="*/ 7686 w 22451"/>
              <a:gd name="connsiteY5" fmla="*/ 4707 h 20399"/>
              <a:gd name="connsiteX6" fmla="*/ 9913 w 22451"/>
              <a:gd name="connsiteY6" fmla="*/ 10942 h 20399"/>
              <a:gd name="connsiteX7" fmla="*/ 12256 w 22451"/>
              <a:gd name="connsiteY7" fmla="*/ 17433 h 20399"/>
              <a:gd name="connsiteX8" fmla="*/ 14183 w 22451"/>
              <a:gd name="connsiteY8" fmla="*/ 9595 h 20399"/>
              <a:gd name="connsiteX9" fmla="*/ 15693 w 22451"/>
              <a:gd name="connsiteY9" fmla="*/ 3422 h 20399"/>
              <a:gd name="connsiteX10" fmla="*/ 16795 w 22451"/>
              <a:gd name="connsiteY10" fmla="*/ 11049 h 20399"/>
              <a:gd name="connsiteX11" fmla="*/ 17385 w 22451"/>
              <a:gd name="connsiteY11" fmla="*/ 17312 h 20399"/>
              <a:gd name="connsiteX12" fmla="*/ 18413 w 22451"/>
              <a:gd name="connsiteY12" fmla="*/ 19647 h 20399"/>
              <a:gd name="connsiteX13" fmla="*/ 19112 w 22451"/>
              <a:gd name="connsiteY13" fmla="*/ 14976 h 20399"/>
              <a:gd name="connsiteX14" fmla="*/ 19752 w 22451"/>
              <a:gd name="connsiteY14" fmla="*/ 6567 h 20399"/>
              <a:gd name="connsiteX15" fmla="*/ 20666 w 22451"/>
              <a:gd name="connsiteY15" fmla="*/ 5418 h 20399"/>
              <a:gd name="connsiteX16" fmla="*/ 22451 w 22451"/>
              <a:gd name="connsiteY16" fmla="*/ 0 h 20399"/>
              <a:gd name="connsiteX0" fmla="*/ 0 w 22451"/>
              <a:gd name="connsiteY0" fmla="*/ 15858 h 24213"/>
              <a:gd name="connsiteX1" fmla="*/ 847 w 22451"/>
              <a:gd name="connsiteY1" fmla="*/ 19228 h 24213"/>
              <a:gd name="connsiteX2" fmla="*/ 2274 w 22451"/>
              <a:gd name="connsiteY2" fmla="*/ 16834 h 24213"/>
              <a:gd name="connsiteX3" fmla="*/ 3501 w 22451"/>
              <a:gd name="connsiteY3" fmla="*/ 9325 h 24213"/>
              <a:gd name="connsiteX4" fmla="*/ 5045 w 22451"/>
              <a:gd name="connsiteY4" fmla="*/ 11115 h 24213"/>
              <a:gd name="connsiteX5" fmla="*/ 7686 w 22451"/>
              <a:gd name="connsiteY5" fmla="*/ 9273 h 24213"/>
              <a:gd name="connsiteX6" fmla="*/ 8908 w 22451"/>
              <a:gd name="connsiteY6" fmla="*/ 88 h 24213"/>
              <a:gd name="connsiteX7" fmla="*/ 9913 w 22451"/>
              <a:gd name="connsiteY7" fmla="*/ 15508 h 24213"/>
              <a:gd name="connsiteX8" fmla="*/ 12256 w 22451"/>
              <a:gd name="connsiteY8" fmla="*/ 21999 h 24213"/>
              <a:gd name="connsiteX9" fmla="*/ 14183 w 22451"/>
              <a:gd name="connsiteY9" fmla="*/ 14161 h 24213"/>
              <a:gd name="connsiteX10" fmla="*/ 15693 w 22451"/>
              <a:gd name="connsiteY10" fmla="*/ 7988 h 24213"/>
              <a:gd name="connsiteX11" fmla="*/ 16795 w 22451"/>
              <a:gd name="connsiteY11" fmla="*/ 15615 h 24213"/>
              <a:gd name="connsiteX12" fmla="*/ 17385 w 22451"/>
              <a:gd name="connsiteY12" fmla="*/ 21878 h 24213"/>
              <a:gd name="connsiteX13" fmla="*/ 18413 w 22451"/>
              <a:gd name="connsiteY13" fmla="*/ 24213 h 24213"/>
              <a:gd name="connsiteX14" fmla="*/ 19112 w 22451"/>
              <a:gd name="connsiteY14" fmla="*/ 19542 h 24213"/>
              <a:gd name="connsiteX15" fmla="*/ 19752 w 22451"/>
              <a:gd name="connsiteY15" fmla="*/ 11133 h 24213"/>
              <a:gd name="connsiteX16" fmla="*/ 20666 w 22451"/>
              <a:gd name="connsiteY16" fmla="*/ 9984 h 24213"/>
              <a:gd name="connsiteX17" fmla="*/ 22451 w 22451"/>
              <a:gd name="connsiteY17" fmla="*/ 4566 h 24213"/>
              <a:gd name="connsiteX0" fmla="*/ 0 w 22451"/>
              <a:gd name="connsiteY0" fmla="*/ 11292 h 19647"/>
              <a:gd name="connsiteX1" fmla="*/ 847 w 22451"/>
              <a:gd name="connsiteY1" fmla="*/ 14662 h 19647"/>
              <a:gd name="connsiteX2" fmla="*/ 2274 w 22451"/>
              <a:gd name="connsiteY2" fmla="*/ 12268 h 19647"/>
              <a:gd name="connsiteX3" fmla="*/ 3501 w 22451"/>
              <a:gd name="connsiteY3" fmla="*/ 4759 h 19647"/>
              <a:gd name="connsiteX4" fmla="*/ 5045 w 22451"/>
              <a:gd name="connsiteY4" fmla="*/ 6549 h 19647"/>
              <a:gd name="connsiteX5" fmla="*/ 7686 w 22451"/>
              <a:gd name="connsiteY5" fmla="*/ 4707 h 19647"/>
              <a:gd name="connsiteX6" fmla="*/ 8888 w 22451"/>
              <a:gd name="connsiteY6" fmla="*/ 5163 h 19647"/>
              <a:gd name="connsiteX7" fmla="*/ 9913 w 22451"/>
              <a:gd name="connsiteY7" fmla="*/ 10942 h 19647"/>
              <a:gd name="connsiteX8" fmla="*/ 12256 w 22451"/>
              <a:gd name="connsiteY8" fmla="*/ 17433 h 19647"/>
              <a:gd name="connsiteX9" fmla="*/ 14183 w 22451"/>
              <a:gd name="connsiteY9" fmla="*/ 9595 h 19647"/>
              <a:gd name="connsiteX10" fmla="*/ 15693 w 22451"/>
              <a:gd name="connsiteY10" fmla="*/ 3422 h 19647"/>
              <a:gd name="connsiteX11" fmla="*/ 16795 w 22451"/>
              <a:gd name="connsiteY11" fmla="*/ 11049 h 19647"/>
              <a:gd name="connsiteX12" fmla="*/ 17385 w 22451"/>
              <a:gd name="connsiteY12" fmla="*/ 17312 h 19647"/>
              <a:gd name="connsiteX13" fmla="*/ 18413 w 22451"/>
              <a:gd name="connsiteY13" fmla="*/ 19647 h 19647"/>
              <a:gd name="connsiteX14" fmla="*/ 19112 w 22451"/>
              <a:gd name="connsiteY14" fmla="*/ 14976 h 19647"/>
              <a:gd name="connsiteX15" fmla="*/ 19752 w 22451"/>
              <a:gd name="connsiteY15" fmla="*/ 6567 h 19647"/>
              <a:gd name="connsiteX16" fmla="*/ 20666 w 22451"/>
              <a:gd name="connsiteY16" fmla="*/ 5418 h 19647"/>
              <a:gd name="connsiteX17" fmla="*/ 22451 w 22451"/>
              <a:gd name="connsiteY17" fmla="*/ 0 h 19647"/>
              <a:gd name="connsiteX0" fmla="*/ 0 w 22451"/>
              <a:gd name="connsiteY0" fmla="*/ 11292 h 22578"/>
              <a:gd name="connsiteX1" fmla="*/ 847 w 22451"/>
              <a:gd name="connsiteY1" fmla="*/ 14662 h 22578"/>
              <a:gd name="connsiteX2" fmla="*/ 2274 w 22451"/>
              <a:gd name="connsiteY2" fmla="*/ 12268 h 22578"/>
              <a:gd name="connsiteX3" fmla="*/ 3501 w 22451"/>
              <a:gd name="connsiteY3" fmla="*/ 4759 h 22578"/>
              <a:gd name="connsiteX4" fmla="*/ 5045 w 22451"/>
              <a:gd name="connsiteY4" fmla="*/ 6549 h 22578"/>
              <a:gd name="connsiteX5" fmla="*/ 7686 w 22451"/>
              <a:gd name="connsiteY5" fmla="*/ 4707 h 22578"/>
              <a:gd name="connsiteX6" fmla="*/ 8888 w 22451"/>
              <a:gd name="connsiteY6" fmla="*/ 5163 h 22578"/>
              <a:gd name="connsiteX7" fmla="*/ 9501 w 22451"/>
              <a:gd name="connsiteY7" fmla="*/ 22066 h 22578"/>
              <a:gd name="connsiteX8" fmla="*/ 12256 w 22451"/>
              <a:gd name="connsiteY8" fmla="*/ 17433 h 22578"/>
              <a:gd name="connsiteX9" fmla="*/ 14183 w 22451"/>
              <a:gd name="connsiteY9" fmla="*/ 9595 h 22578"/>
              <a:gd name="connsiteX10" fmla="*/ 15693 w 22451"/>
              <a:gd name="connsiteY10" fmla="*/ 3422 h 22578"/>
              <a:gd name="connsiteX11" fmla="*/ 16795 w 22451"/>
              <a:gd name="connsiteY11" fmla="*/ 11049 h 22578"/>
              <a:gd name="connsiteX12" fmla="*/ 17385 w 22451"/>
              <a:gd name="connsiteY12" fmla="*/ 17312 h 22578"/>
              <a:gd name="connsiteX13" fmla="*/ 18413 w 22451"/>
              <a:gd name="connsiteY13" fmla="*/ 19647 h 22578"/>
              <a:gd name="connsiteX14" fmla="*/ 19112 w 22451"/>
              <a:gd name="connsiteY14" fmla="*/ 14976 h 22578"/>
              <a:gd name="connsiteX15" fmla="*/ 19752 w 22451"/>
              <a:gd name="connsiteY15" fmla="*/ 6567 h 22578"/>
              <a:gd name="connsiteX16" fmla="*/ 20666 w 22451"/>
              <a:gd name="connsiteY16" fmla="*/ 5418 h 22578"/>
              <a:gd name="connsiteX17" fmla="*/ 22451 w 22451"/>
              <a:gd name="connsiteY17" fmla="*/ 0 h 22578"/>
              <a:gd name="connsiteX0" fmla="*/ 0 w 22451"/>
              <a:gd name="connsiteY0" fmla="*/ 14022 h 25800"/>
              <a:gd name="connsiteX1" fmla="*/ 847 w 22451"/>
              <a:gd name="connsiteY1" fmla="*/ 17392 h 25800"/>
              <a:gd name="connsiteX2" fmla="*/ 2274 w 22451"/>
              <a:gd name="connsiteY2" fmla="*/ 14998 h 25800"/>
              <a:gd name="connsiteX3" fmla="*/ 3501 w 22451"/>
              <a:gd name="connsiteY3" fmla="*/ 7489 h 25800"/>
              <a:gd name="connsiteX4" fmla="*/ 5045 w 22451"/>
              <a:gd name="connsiteY4" fmla="*/ 9279 h 25800"/>
              <a:gd name="connsiteX5" fmla="*/ 7686 w 22451"/>
              <a:gd name="connsiteY5" fmla="*/ 7437 h 25800"/>
              <a:gd name="connsiteX6" fmla="*/ 8927 w 22451"/>
              <a:gd name="connsiteY6" fmla="*/ 106 h 25800"/>
              <a:gd name="connsiteX7" fmla="*/ 9501 w 22451"/>
              <a:gd name="connsiteY7" fmla="*/ 24796 h 25800"/>
              <a:gd name="connsiteX8" fmla="*/ 12256 w 22451"/>
              <a:gd name="connsiteY8" fmla="*/ 20163 h 25800"/>
              <a:gd name="connsiteX9" fmla="*/ 14183 w 22451"/>
              <a:gd name="connsiteY9" fmla="*/ 12325 h 25800"/>
              <a:gd name="connsiteX10" fmla="*/ 15693 w 22451"/>
              <a:gd name="connsiteY10" fmla="*/ 6152 h 25800"/>
              <a:gd name="connsiteX11" fmla="*/ 16795 w 22451"/>
              <a:gd name="connsiteY11" fmla="*/ 13779 h 25800"/>
              <a:gd name="connsiteX12" fmla="*/ 17385 w 22451"/>
              <a:gd name="connsiteY12" fmla="*/ 20042 h 25800"/>
              <a:gd name="connsiteX13" fmla="*/ 18413 w 22451"/>
              <a:gd name="connsiteY13" fmla="*/ 22377 h 25800"/>
              <a:gd name="connsiteX14" fmla="*/ 19112 w 22451"/>
              <a:gd name="connsiteY14" fmla="*/ 17706 h 25800"/>
              <a:gd name="connsiteX15" fmla="*/ 19752 w 22451"/>
              <a:gd name="connsiteY15" fmla="*/ 9297 h 25800"/>
              <a:gd name="connsiteX16" fmla="*/ 20666 w 22451"/>
              <a:gd name="connsiteY16" fmla="*/ 8148 h 25800"/>
              <a:gd name="connsiteX17" fmla="*/ 22451 w 22451"/>
              <a:gd name="connsiteY17" fmla="*/ 2730 h 25800"/>
              <a:gd name="connsiteX0" fmla="*/ 0 w 22451"/>
              <a:gd name="connsiteY0" fmla="*/ 14022 h 24488"/>
              <a:gd name="connsiteX1" fmla="*/ 847 w 22451"/>
              <a:gd name="connsiteY1" fmla="*/ 17392 h 24488"/>
              <a:gd name="connsiteX2" fmla="*/ 2274 w 22451"/>
              <a:gd name="connsiteY2" fmla="*/ 14998 h 24488"/>
              <a:gd name="connsiteX3" fmla="*/ 3501 w 22451"/>
              <a:gd name="connsiteY3" fmla="*/ 7489 h 24488"/>
              <a:gd name="connsiteX4" fmla="*/ 5045 w 22451"/>
              <a:gd name="connsiteY4" fmla="*/ 9279 h 24488"/>
              <a:gd name="connsiteX5" fmla="*/ 7686 w 22451"/>
              <a:gd name="connsiteY5" fmla="*/ 7437 h 24488"/>
              <a:gd name="connsiteX6" fmla="*/ 8927 w 22451"/>
              <a:gd name="connsiteY6" fmla="*/ 106 h 24488"/>
              <a:gd name="connsiteX7" fmla="*/ 10168 w 22451"/>
              <a:gd name="connsiteY7" fmla="*/ 23313 h 24488"/>
              <a:gd name="connsiteX8" fmla="*/ 12256 w 22451"/>
              <a:gd name="connsiteY8" fmla="*/ 20163 h 24488"/>
              <a:gd name="connsiteX9" fmla="*/ 14183 w 22451"/>
              <a:gd name="connsiteY9" fmla="*/ 12325 h 24488"/>
              <a:gd name="connsiteX10" fmla="*/ 15693 w 22451"/>
              <a:gd name="connsiteY10" fmla="*/ 6152 h 24488"/>
              <a:gd name="connsiteX11" fmla="*/ 16795 w 22451"/>
              <a:gd name="connsiteY11" fmla="*/ 13779 h 24488"/>
              <a:gd name="connsiteX12" fmla="*/ 17385 w 22451"/>
              <a:gd name="connsiteY12" fmla="*/ 20042 h 24488"/>
              <a:gd name="connsiteX13" fmla="*/ 18413 w 22451"/>
              <a:gd name="connsiteY13" fmla="*/ 22377 h 24488"/>
              <a:gd name="connsiteX14" fmla="*/ 19112 w 22451"/>
              <a:gd name="connsiteY14" fmla="*/ 17706 h 24488"/>
              <a:gd name="connsiteX15" fmla="*/ 19752 w 22451"/>
              <a:gd name="connsiteY15" fmla="*/ 9297 h 24488"/>
              <a:gd name="connsiteX16" fmla="*/ 20666 w 22451"/>
              <a:gd name="connsiteY16" fmla="*/ 8148 h 24488"/>
              <a:gd name="connsiteX17" fmla="*/ 22451 w 22451"/>
              <a:gd name="connsiteY17" fmla="*/ 2730 h 24488"/>
              <a:gd name="connsiteX0" fmla="*/ 0 w 22451"/>
              <a:gd name="connsiteY0" fmla="*/ 11292 h 21422"/>
              <a:gd name="connsiteX1" fmla="*/ 847 w 22451"/>
              <a:gd name="connsiteY1" fmla="*/ 14662 h 21422"/>
              <a:gd name="connsiteX2" fmla="*/ 2274 w 22451"/>
              <a:gd name="connsiteY2" fmla="*/ 12268 h 21422"/>
              <a:gd name="connsiteX3" fmla="*/ 3501 w 22451"/>
              <a:gd name="connsiteY3" fmla="*/ 4759 h 21422"/>
              <a:gd name="connsiteX4" fmla="*/ 5045 w 22451"/>
              <a:gd name="connsiteY4" fmla="*/ 6549 h 21422"/>
              <a:gd name="connsiteX5" fmla="*/ 7686 w 22451"/>
              <a:gd name="connsiteY5" fmla="*/ 4707 h 21422"/>
              <a:gd name="connsiteX6" fmla="*/ 8849 w 22451"/>
              <a:gd name="connsiteY6" fmla="*/ 2196 h 21422"/>
              <a:gd name="connsiteX7" fmla="*/ 10168 w 22451"/>
              <a:gd name="connsiteY7" fmla="*/ 20583 h 21422"/>
              <a:gd name="connsiteX8" fmla="*/ 12256 w 22451"/>
              <a:gd name="connsiteY8" fmla="*/ 17433 h 21422"/>
              <a:gd name="connsiteX9" fmla="*/ 14183 w 22451"/>
              <a:gd name="connsiteY9" fmla="*/ 9595 h 21422"/>
              <a:gd name="connsiteX10" fmla="*/ 15693 w 22451"/>
              <a:gd name="connsiteY10" fmla="*/ 3422 h 21422"/>
              <a:gd name="connsiteX11" fmla="*/ 16795 w 22451"/>
              <a:gd name="connsiteY11" fmla="*/ 11049 h 21422"/>
              <a:gd name="connsiteX12" fmla="*/ 17385 w 22451"/>
              <a:gd name="connsiteY12" fmla="*/ 17312 h 21422"/>
              <a:gd name="connsiteX13" fmla="*/ 18413 w 22451"/>
              <a:gd name="connsiteY13" fmla="*/ 19647 h 21422"/>
              <a:gd name="connsiteX14" fmla="*/ 19112 w 22451"/>
              <a:gd name="connsiteY14" fmla="*/ 14976 h 21422"/>
              <a:gd name="connsiteX15" fmla="*/ 19752 w 22451"/>
              <a:gd name="connsiteY15" fmla="*/ 6567 h 21422"/>
              <a:gd name="connsiteX16" fmla="*/ 20666 w 22451"/>
              <a:gd name="connsiteY16" fmla="*/ 5418 h 21422"/>
              <a:gd name="connsiteX17" fmla="*/ 22451 w 22451"/>
              <a:gd name="connsiteY17" fmla="*/ 0 h 21422"/>
              <a:gd name="connsiteX0" fmla="*/ 0 w 22451"/>
              <a:gd name="connsiteY0" fmla="*/ 11292 h 20627"/>
              <a:gd name="connsiteX1" fmla="*/ 847 w 22451"/>
              <a:gd name="connsiteY1" fmla="*/ 14662 h 20627"/>
              <a:gd name="connsiteX2" fmla="*/ 2274 w 22451"/>
              <a:gd name="connsiteY2" fmla="*/ 12268 h 20627"/>
              <a:gd name="connsiteX3" fmla="*/ 3501 w 22451"/>
              <a:gd name="connsiteY3" fmla="*/ 4759 h 20627"/>
              <a:gd name="connsiteX4" fmla="*/ 5045 w 22451"/>
              <a:gd name="connsiteY4" fmla="*/ 6549 h 20627"/>
              <a:gd name="connsiteX5" fmla="*/ 7686 w 22451"/>
              <a:gd name="connsiteY5" fmla="*/ 4707 h 20627"/>
              <a:gd name="connsiteX6" fmla="*/ 8849 w 22451"/>
              <a:gd name="connsiteY6" fmla="*/ 2196 h 20627"/>
              <a:gd name="connsiteX7" fmla="*/ 10168 w 22451"/>
              <a:gd name="connsiteY7" fmla="*/ 20583 h 20627"/>
              <a:gd name="connsiteX8" fmla="*/ 12158 w 22451"/>
              <a:gd name="connsiteY8" fmla="*/ 7421 h 20627"/>
              <a:gd name="connsiteX9" fmla="*/ 14183 w 22451"/>
              <a:gd name="connsiteY9" fmla="*/ 9595 h 20627"/>
              <a:gd name="connsiteX10" fmla="*/ 15693 w 22451"/>
              <a:gd name="connsiteY10" fmla="*/ 3422 h 20627"/>
              <a:gd name="connsiteX11" fmla="*/ 16795 w 22451"/>
              <a:gd name="connsiteY11" fmla="*/ 11049 h 20627"/>
              <a:gd name="connsiteX12" fmla="*/ 17385 w 22451"/>
              <a:gd name="connsiteY12" fmla="*/ 17312 h 20627"/>
              <a:gd name="connsiteX13" fmla="*/ 18413 w 22451"/>
              <a:gd name="connsiteY13" fmla="*/ 19647 h 20627"/>
              <a:gd name="connsiteX14" fmla="*/ 19112 w 22451"/>
              <a:gd name="connsiteY14" fmla="*/ 14976 h 20627"/>
              <a:gd name="connsiteX15" fmla="*/ 19752 w 22451"/>
              <a:gd name="connsiteY15" fmla="*/ 6567 h 20627"/>
              <a:gd name="connsiteX16" fmla="*/ 20666 w 22451"/>
              <a:gd name="connsiteY16" fmla="*/ 5418 h 20627"/>
              <a:gd name="connsiteX17" fmla="*/ 22451 w 22451"/>
              <a:gd name="connsiteY17" fmla="*/ 0 h 20627"/>
              <a:gd name="connsiteX0" fmla="*/ 0 w 22451"/>
              <a:gd name="connsiteY0" fmla="*/ 11292 h 20622"/>
              <a:gd name="connsiteX1" fmla="*/ 847 w 22451"/>
              <a:gd name="connsiteY1" fmla="*/ 14662 h 20622"/>
              <a:gd name="connsiteX2" fmla="*/ 2274 w 22451"/>
              <a:gd name="connsiteY2" fmla="*/ 12268 h 20622"/>
              <a:gd name="connsiteX3" fmla="*/ 3501 w 22451"/>
              <a:gd name="connsiteY3" fmla="*/ 4759 h 20622"/>
              <a:gd name="connsiteX4" fmla="*/ 5045 w 22451"/>
              <a:gd name="connsiteY4" fmla="*/ 6549 h 20622"/>
              <a:gd name="connsiteX5" fmla="*/ 7686 w 22451"/>
              <a:gd name="connsiteY5" fmla="*/ 4707 h 20622"/>
              <a:gd name="connsiteX6" fmla="*/ 8849 w 22451"/>
              <a:gd name="connsiteY6" fmla="*/ 2196 h 20622"/>
              <a:gd name="connsiteX7" fmla="*/ 10168 w 22451"/>
              <a:gd name="connsiteY7" fmla="*/ 20583 h 20622"/>
              <a:gd name="connsiteX8" fmla="*/ 12158 w 22451"/>
              <a:gd name="connsiteY8" fmla="*/ 7421 h 20622"/>
              <a:gd name="connsiteX9" fmla="*/ 14085 w 22451"/>
              <a:gd name="connsiteY9" fmla="*/ 19236 h 20622"/>
              <a:gd name="connsiteX10" fmla="*/ 15693 w 22451"/>
              <a:gd name="connsiteY10" fmla="*/ 3422 h 20622"/>
              <a:gd name="connsiteX11" fmla="*/ 16795 w 22451"/>
              <a:gd name="connsiteY11" fmla="*/ 11049 h 20622"/>
              <a:gd name="connsiteX12" fmla="*/ 17385 w 22451"/>
              <a:gd name="connsiteY12" fmla="*/ 17312 h 20622"/>
              <a:gd name="connsiteX13" fmla="*/ 18413 w 22451"/>
              <a:gd name="connsiteY13" fmla="*/ 19647 h 20622"/>
              <a:gd name="connsiteX14" fmla="*/ 19112 w 22451"/>
              <a:gd name="connsiteY14" fmla="*/ 14976 h 20622"/>
              <a:gd name="connsiteX15" fmla="*/ 19752 w 22451"/>
              <a:gd name="connsiteY15" fmla="*/ 6567 h 20622"/>
              <a:gd name="connsiteX16" fmla="*/ 20666 w 22451"/>
              <a:gd name="connsiteY16" fmla="*/ 5418 h 20622"/>
              <a:gd name="connsiteX17" fmla="*/ 22451 w 22451"/>
              <a:gd name="connsiteY17" fmla="*/ 0 h 20622"/>
              <a:gd name="connsiteX0" fmla="*/ 0 w 22451"/>
              <a:gd name="connsiteY0" fmla="*/ 11911 h 21241"/>
              <a:gd name="connsiteX1" fmla="*/ 847 w 22451"/>
              <a:gd name="connsiteY1" fmla="*/ 15281 h 21241"/>
              <a:gd name="connsiteX2" fmla="*/ 2274 w 22451"/>
              <a:gd name="connsiteY2" fmla="*/ 12887 h 21241"/>
              <a:gd name="connsiteX3" fmla="*/ 3501 w 22451"/>
              <a:gd name="connsiteY3" fmla="*/ 5378 h 21241"/>
              <a:gd name="connsiteX4" fmla="*/ 5045 w 22451"/>
              <a:gd name="connsiteY4" fmla="*/ 7168 h 21241"/>
              <a:gd name="connsiteX5" fmla="*/ 7686 w 22451"/>
              <a:gd name="connsiteY5" fmla="*/ 135 h 21241"/>
              <a:gd name="connsiteX6" fmla="*/ 8849 w 22451"/>
              <a:gd name="connsiteY6" fmla="*/ 2815 h 21241"/>
              <a:gd name="connsiteX7" fmla="*/ 10168 w 22451"/>
              <a:gd name="connsiteY7" fmla="*/ 21202 h 21241"/>
              <a:gd name="connsiteX8" fmla="*/ 12158 w 22451"/>
              <a:gd name="connsiteY8" fmla="*/ 8040 h 21241"/>
              <a:gd name="connsiteX9" fmla="*/ 14085 w 22451"/>
              <a:gd name="connsiteY9" fmla="*/ 19855 h 21241"/>
              <a:gd name="connsiteX10" fmla="*/ 15693 w 22451"/>
              <a:gd name="connsiteY10" fmla="*/ 4041 h 21241"/>
              <a:gd name="connsiteX11" fmla="*/ 16795 w 22451"/>
              <a:gd name="connsiteY11" fmla="*/ 11668 h 21241"/>
              <a:gd name="connsiteX12" fmla="*/ 17385 w 22451"/>
              <a:gd name="connsiteY12" fmla="*/ 17931 h 21241"/>
              <a:gd name="connsiteX13" fmla="*/ 18413 w 22451"/>
              <a:gd name="connsiteY13" fmla="*/ 20266 h 21241"/>
              <a:gd name="connsiteX14" fmla="*/ 19112 w 22451"/>
              <a:gd name="connsiteY14" fmla="*/ 15595 h 21241"/>
              <a:gd name="connsiteX15" fmla="*/ 19752 w 22451"/>
              <a:gd name="connsiteY15" fmla="*/ 7186 h 21241"/>
              <a:gd name="connsiteX16" fmla="*/ 20666 w 22451"/>
              <a:gd name="connsiteY16" fmla="*/ 6037 h 21241"/>
              <a:gd name="connsiteX17" fmla="*/ 22451 w 22451"/>
              <a:gd name="connsiteY17" fmla="*/ 619 h 21241"/>
              <a:gd name="connsiteX0" fmla="*/ 0 w 22451"/>
              <a:gd name="connsiteY0" fmla="*/ 20393 h 29723"/>
              <a:gd name="connsiteX1" fmla="*/ 847 w 22451"/>
              <a:gd name="connsiteY1" fmla="*/ 23763 h 29723"/>
              <a:gd name="connsiteX2" fmla="*/ 2274 w 22451"/>
              <a:gd name="connsiteY2" fmla="*/ 21369 h 29723"/>
              <a:gd name="connsiteX3" fmla="*/ 3501 w 22451"/>
              <a:gd name="connsiteY3" fmla="*/ 13860 h 29723"/>
              <a:gd name="connsiteX4" fmla="*/ 5045 w 22451"/>
              <a:gd name="connsiteY4" fmla="*/ 15650 h 29723"/>
              <a:gd name="connsiteX5" fmla="*/ 7686 w 22451"/>
              <a:gd name="connsiteY5" fmla="*/ 8617 h 29723"/>
              <a:gd name="connsiteX6" fmla="*/ 8849 w 22451"/>
              <a:gd name="connsiteY6" fmla="*/ 11297 h 29723"/>
              <a:gd name="connsiteX7" fmla="*/ 10168 w 22451"/>
              <a:gd name="connsiteY7" fmla="*/ 29684 h 29723"/>
              <a:gd name="connsiteX8" fmla="*/ 12158 w 22451"/>
              <a:gd name="connsiteY8" fmla="*/ 16522 h 29723"/>
              <a:gd name="connsiteX9" fmla="*/ 14085 w 22451"/>
              <a:gd name="connsiteY9" fmla="*/ 28337 h 29723"/>
              <a:gd name="connsiteX10" fmla="*/ 15693 w 22451"/>
              <a:gd name="connsiteY10" fmla="*/ 12523 h 29723"/>
              <a:gd name="connsiteX11" fmla="*/ 16795 w 22451"/>
              <a:gd name="connsiteY11" fmla="*/ 20150 h 29723"/>
              <a:gd name="connsiteX12" fmla="*/ 17385 w 22451"/>
              <a:gd name="connsiteY12" fmla="*/ 26413 h 29723"/>
              <a:gd name="connsiteX13" fmla="*/ 18413 w 22451"/>
              <a:gd name="connsiteY13" fmla="*/ 28748 h 29723"/>
              <a:gd name="connsiteX14" fmla="*/ 19112 w 22451"/>
              <a:gd name="connsiteY14" fmla="*/ 24077 h 29723"/>
              <a:gd name="connsiteX15" fmla="*/ 19752 w 22451"/>
              <a:gd name="connsiteY15" fmla="*/ 15668 h 29723"/>
              <a:gd name="connsiteX16" fmla="*/ 20666 w 22451"/>
              <a:gd name="connsiteY16" fmla="*/ 14519 h 29723"/>
              <a:gd name="connsiteX17" fmla="*/ 22451 w 22451"/>
              <a:gd name="connsiteY17" fmla="*/ 9101 h 29723"/>
              <a:gd name="connsiteX0" fmla="*/ 0 w 22451"/>
              <a:gd name="connsiteY0" fmla="*/ 12773 h 22155"/>
              <a:gd name="connsiteX1" fmla="*/ 847 w 22451"/>
              <a:gd name="connsiteY1" fmla="*/ 16143 h 22155"/>
              <a:gd name="connsiteX2" fmla="*/ 2274 w 22451"/>
              <a:gd name="connsiteY2" fmla="*/ 13749 h 22155"/>
              <a:gd name="connsiteX3" fmla="*/ 3501 w 22451"/>
              <a:gd name="connsiteY3" fmla="*/ 6240 h 22155"/>
              <a:gd name="connsiteX4" fmla="*/ 5045 w 22451"/>
              <a:gd name="connsiteY4" fmla="*/ 8030 h 22155"/>
              <a:gd name="connsiteX5" fmla="*/ 7686 w 22451"/>
              <a:gd name="connsiteY5" fmla="*/ 997 h 22155"/>
              <a:gd name="connsiteX6" fmla="*/ 9065 w 22451"/>
              <a:gd name="connsiteY6" fmla="*/ 711 h 22155"/>
              <a:gd name="connsiteX7" fmla="*/ 10168 w 22451"/>
              <a:gd name="connsiteY7" fmla="*/ 22064 h 22155"/>
              <a:gd name="connsiteX8" fmla="*/ 12158 w 22451"/>
              <a:gd name="connsiteY8" fmla="*/ 8902 h 22155"/>
              <a:gd name="connsiteX9" fmla="*/ 14085 w 22451"/>
              <a:gd name="connsiteY9" fmla="*/ 20717 h 22155"/>
              <a:gd name="connsiteX10" fmla="*/ 15693 w 22451"/>
              <a:gd name="connsiteY10" fmla="*/ 4903 h 22155"/>
              <a:gd name="connsiteX11" fmla="*/ 16795 w 22451"/>
              <a:gd name="connsiteY11" fmla="*/ 12530 h 22155"/>
              <a:gd name="connsiteX12" fmla="*/ 17385 w 22451"/>
              <a:gd name="connsiteY12" fmla="*/ 18793 h 22155"/>
              <a:gd name="connsiteX13" fmla="*/ 18413 w 22451"/>
              <a:gd name="connsiteY13" fmla="*/ 21128 h 22155"/>
              <a:gd name="connsiteX14" fmla="*/ 19112 w 22451"/>
              <a:gd name="connsiteY14" fmla="*/ 16457 h 22155"/>
              <a:gd name="connsiteX15" fmla="*/ 19752 w 22451"/>
              <a:gd name="connsiteY15" fmla="*/ 8048 h 22155"/>
              <a:gd name="connsiteX16" fmla="*/ 20666 w 22451"/>
              <a:gd name="connsiteY16" fmla="*/ 6899 h 22155"/>
              <a:gd name="connsiteX17" fmla="*/ 22451 w 22451"/>
              <a:gd name="connsiteY17" fmla="*/ 1481 h 22155"/>
              <a:gd name="connsiteX0" fmla="*/ 0 w 22451"/>
              <a:gd name="connsiteY0" fmla="*/ 12111 h 21493"/>
              <a:gd name="connsiteX1" fmla="*/ 847 w 22451"/>
              <a:gd name="connsiteY1" fmla="*/ 15481 h 21493"/>
              <a:gd name="connsiteX2" fmla="*/ 2274 w 22451"/>
              <a:gd name="connsiteY2" fmla="*/ 13087 h 21493"/>
              <a:gd name="connsiteX3" fmla="*/ 3501 w 22451"/>
              <a:gd name="connsiteY3" fmla="*/ 5578 h 21493"/>
              <a:gd name="connsiteX4" fmla="*/ 5045 w 22451"/>
              <a:gd name="connsiteY4" fmla="*/ 7368 h 21493"/>
              <a:gd name="connsiteX5" fmla="*/ 6646 w 22451"/>
              <a:gd name="connsiteY5" fmla="*/ 16279 h 21493"/>
              <a:gd name="connsiteX6" fmla="*/ 9065 w 22451"/>
              <a:gd name="connsiteY6" fmla="*/ 49 h 21493"/>
              <a:gd name="connsiteX7" fmla="*/ 10168 w 22451"/>
              <a:gd name="connsiteY7" fmla="*/ 21402 h 21493"/>
              <a:gd name="connsiteX8" fmla="*/ 12158 w 22451"/>
              <a:gd name="connsiteY8" fmla="*/ 8240 h 21493"/>
              <a:gd name="connsiteX9" fmla="*/ 14085 w 22451"/>
              <a:gd name="connsiteY9" fmla="*/ 20055 h 21493"/>
              <a:gd name="connsiteX10" fmla="*/ 15693 w 22451"/>
              <a:gd name="connsiteY10" fmla="*/ 4241 h 21493"/>
              <a:gd name="connsiteX11" fmla="*/ 16795 w 22451"/>
              <a:gd name="connsiteY11" fmla="*/ 11868 h 21493"/>
              <a:gd name="connsiteX12" fmla="*/ 17385 w 22451"/>
              <a:gd name="connsiteY12" fmla="*/ 18131 h 21493"/>
              <a:gd name="connsiteX13" fmla="*/ 18413 w 22451"/>
              <a:gd name="connsiteY13" fmla="*/ 20466 h 21493"/>
              <a:gd name="connsiteX14" fmla="*/ 19112 w 22451"/>
              <a:gd name="connsiteY14" fmla="*/ 15795 h 21493"/>
              <a:gd name="connsiteX15" fmla="*/ 19752 w 22451"/>
              <a:gd name="connsiteY15" fmla="*/ 7386 h 21493"/>
              <a:gd name="connsiteX16" fmla="*/ 20666 w 22451"/>
              <a:gd name="connsiteY16" fmla="*/ 6237 h 21493"/>
              <a:gd name="connsiteX17" fmla="*/ 22451 w 22451"/>
              <a:gd name="connsiteY17" fmla="*/ 819 h 21493"/>
              <a:gd name="connsiteX0" fmla="*/ 0 w 22451"/>
              <a:gd name="connsiteY0" fmla="*/ 12144 h 21526"/>
              <a:gd name="connsiteX1" fmla="*/ 847 w 22451"/>
              <a:gd name="connsiteY1" fmla="*/ 15514 h 21526"/>
              <a:gd name="connsiteX2" fmla="*/ 2274 w 22451"/>
              <a:gd name="connsiteY2" fmla="*/ 13120 h 21526"/>
              <a:gd name="connsiteX3" fmla="*/ 3501 w 22451"/>
              <a:gd name="connsiteY3" fmla="*/ 5611 h 21526"/>
              <a:gd name="connsiteX4" fmla="*/ 5045 w 22451"/>
              <a:gd name="connsiteY4" fmla="*/ 7401 h 21526"/>
              <a:gd name="connsiteX5" fmla="*/ 6646 w 22451"/>
              <a:gd name="connsiteY5" fmla="*/ 16312 h 21526"/>
              <a:gd name="connsiteX6" fmla="*/ 9065 w 22451"/>
              <a:gd name="connsiteY6" fmla="*/ 82 h 21526"/>
              <a:gd name="connsiteX7" fmla="*/ 10168 w 22451"/>
              <a:gd name="connsiteY7" fmla="*/ 21435 h 21526"/>
              <a:gd name="connsiteX8" fmla="*/ 12158 w 22451"/>
              <a:gd name="connsiteY8" fmla="*/ 8273 h 21526"/>
              <a:gd name="connsiteX9" fmla="*/ 14085 w 22451"/>
              <a:gd name="connsiteY9" fmla="*/ 20088 h 21526"/>
              <a:gd name="connsiteX10" fmla="*/ 15693 w 22451"/>
              <a:gd name="connsiteY10" fmla="*/ 4274 h 21526"/>
              <a:gd name="connsiteX11" fmla="*/ 16795 w 22451"/>
              <a:gd name="connsiteY11" fmla="*/ 11901 h 21526"/>
              <a:gd name="connsiteX12" fmla="*/ 17385 w 22451"/>
              <a:gd name="connsiteY12" fmla="*/ 18164 h 21526"/>
              <a:gd name="connsiteX13" fmla="*/ 18413 w 22451"/>
              <a:gd name="connsiteY13" fmla="*/ 20499 h 21526"/>
              <a:gd name="connsiteX14" fmla="*/ 19112 w 22451"/>
              <a:gd name="connsiteY14" fmla="*/ 15828 h 21526"/>
              <a:gd name="connsiteX15" fmla="*/ 19752 w 22451"/>
              <a:gd name="connsiteY15" fmla="*/ 7419 h 21526"/>
              <a:gd name="connsiteX16" fmla="*/ 20666 w 22451"/>
              <a:gd name="connsiteY16" fmla="*/ 6270 h 21526"/>
              <a:gd name="connsiteX17" fmla="*/ 22451 w 22451"/>
              <a:gd name="connsiteY17" fmla="*/ 852 h 21526"/>
              <a:gd name="connsiteX0" fmla="*/ 0 w 22451"/>
              <a:gd name="connsiteY0" fmla="*/ 12144 h 21526"/>
              <a:gd name="connsiteX1" fmla="*/ 847 w 22451"/>
              <a:gd name="connsiteY1" fmla="*/ 15514 h 21526"/>
              <a:gd name="connsiteX2" fmla="*/ 2274 w 22451"/>
              <a:gd name="connsiteY2" fmla="*/ 13120 h 21526"/>
              <a:gd name="connsiteX3" fmla="*/ 3501 w 22451"/>
              <a:gd name="connsiteY3" fmla="*/ 5611 h 21526"/>
              <a:gd name="connsiteX4" fmla="*/ 5045 w 22451"/>
              <a:gd name="connsiteY4" fmla="*/ 7401 h 21526"/>
              <a:gd name="connsiteX5" fmla="*/ 6646 w 22451"/>
              <a:gd name="connsiteY5" fmla="*/ 16312 h 21526"/>
              <a:gd name="connsiteX6" fmla="*/ 9065 w 22451"/>
              <a:gd name="connsiteY6" fmla="*/ 82 h 21526"/>
              <a:gd name="connsiteX7" fmla="*/ 10168 w 22451"/>
              <a:gd name="connsiteY7" fmla="*/ 21435 h 21526"/>
              <a:gd name="connsiteX8" fmla="*/ 12158 w 22451"/>
              <a:gd name="connsiteY8" fmla="*/ 8273 h 21526"/>
              <a:gd name="connsiteX9" fmla="*/ 14085 w 22451"/>
              <a:gd name="connsiteY9" fmla="*/ 20088 h 21526"/>
              <a:gd name="connsiteX10" fmla="*/ 15693 w 22451"/>
              <a:gd name="connsiteY10" fmla="*/ 4274 h 21526"/>
              <a:gd name="connsiteX11" fmla="*/ 16795 w 22451"/>
              <a:gd name="connsiteY11" fmla="*/ 11901 h 21526"/>
              <a:gd name="connsiteX12" fmla="*/ 17385 w 22451"/>
              <a:gd name="connsiteY12" fmla="*/ 18164 h 21526"/>
              <a:gd name="connsiteX13" fmla="*/ 18413 w 22451"/>
              <a:gd name="connsiteY13" fmla="*/ 20499 h 21526"/>
              <a:gd name="connsiteX14" fmla="*/ 19112 w 22451"/>
              <a:gd name="connsiteY14" fmla="*/ 15828 h 21526"/>
              <a:gd name="connsiteX15" fmla="*/ 19752 w 22451"/>
              <a:gd name="connsiteY15" fmla="*/ 7419 h 21526"/>
              <a:gd name="connsiteX16" fmla="*/ 20666 w 22451"/>
              <a:gd name="connsiteY16" fmla="*/ 6270 h 21526"/>
              <a:gd name="connsiteX17" fmla="*/ 22451 w 22451"/>
              <a:gd name="connsiteY17" fmla="*/ 852 h 21526"/>
              <a:gd name="connsiteX0" fmla="*/ 0 w 22451"/>
              <a:gd name="connsiteY0" fmla="*/ 12062 h 21444"/>
              <a:gd name="connsiteX1" fmla="*/ 847 w 22451"/>
              <a:gd name="connsiteY1" fmla="*/ 15432 h 21444"/>
              <a:gd name="connsiteX2" fmla="*/ 2274 w 22451"/>
              <a:gd name="connsiteY2" fmla="*/ 13038 h 21444"/>
              <a:gd name="connsiteX3" fmla="*/ 3501 w 22451"/>
              <a:gd name="connsiteY3" fmla="*/ 5529 h 21444"/>
              <a:gd name="connsiteX4" fmla="*/ 5045 w 22451"/>
              <a:gd name="connsiteY4" fmla="*/ 7319 h 21444"/>
              <a:gd name="connsiteX5" fmla="*/ 6646 w 22451"/>
              <a:gd name="connsiteY5" fmla="*/ 16230 h 21444"/>
              <a:gd name="connsiteX6" fmla="*/ 9065 w 22451"/>
              <a:gd name="connsiteY6" fmla="*/ 0 h 21444"/>
              <a:gd name="connsiteX7" fmla="*/ 10168 w 22451"/>
              <a:gd name="connsiteY7" fmla="*/ 21353 h 21444"/>
              <a:gd name="connsiteX8" fmla="*/ 12158 w 22451"/>
              <a:gd name="connsiteY8" fmla="*/ 8191 h 21444"/>
              <a:gd name="connsiteX9" fmla="*/ 14085 w 22451"/>
              <a:gd name="connsiteY9" fmla="*/ 20006 h 21444"/>
              <a:gd name="connsiteX10" fmla="*/ 15693 w 22451"/>
              <a:gd name="connsiteY10" fmla="*/ 4192 h 21444"/>
              <a:gd name="connsiteX11" fmla="*/ 16795 w 22451"/>
              <a:gd name="connsiteY11" fmla="*/ 11819 h 21444"/>
              <a:gd name="connsiteX12" fmla="*/ 17385 w 22451"/>
              <a:gd name="connsiteY12" fmla="*/ 18082 h 21444"/>
              <a:gd name="connsiteX13" fmla="*/ 18413 w 22451"/>
              <a:gd name="connsiteY13" fmla="*/ 20417 h 21444"/>
              <a:gd name="connsiteX14" fmla="*/ 19112 w 22451"/>
              <a:gd name="connsiteY14" fmla="*/ 15746 h 21444"/>
              <a:gd name="connsiteX15" fmla="*/ 19752 w 22451"/>
              <a:gd name="connsiteY15" fmla="*/ 7337 h 21444"/>
              <a:gd name="connsiteX16" fmla="*/ 20666 w 22451"/>
              <a:gd name="connsiteY16" fmla="*/ 6188 h 21444"/>
              <a:gd name="connsiteX17" fmla="*/ 22451 w 22451"/>
              <a:gd name="connsiteY17" fmla="*/ 770 h 21444"/>
              <a:gd name="connsiteX0" fmla="*/ 0 w 22451"/>
              <a:gd name="connsiteY0" fmla="*/ 12062 h 21444"/>
              <a:gd name="connsiteX1" fmla="*/ 847 w 22451"/>
              <a:gd name="connsiteY1" fmla="*/ 15432 h 21444"/>
              <a:gd name="connsiteX2" fmla="*/ 2274 w 22451"/>
              <a:gd name="connsiteY2" fmla="*/ 13038 h 21444"/>
              <a:gd name="connsiteX3" fmla="*/ 3501 w 22451"/>
              <a:gd name="connsiteY3" fmla="*/ 5529 h 21444"/>
              <a:gd name="connsiteX4" fmla="*/ 5045 w 22451"/>
              <a:gd name="connsiteY4" fmla="*/ 7319 h 21444"/>
              <a:gd name="connsiteX5" fmla="*/ 6646 w 22451"/>
              <a:gd name="connsiteY5" fmla="*/ 16230 h 21444"/>
              <a:gd name="connsiteX6" fmla="*/ 9065 w 22451"/>
              <a:gd name="connsiteY6" fmla="*/ 0 h 21444"/>
              <a:gd name="connsiteX7" fmla="*/ 10168 w 22451"/>
              <a:gd name="connsiteY7" fmla="*/ 21353 h 21444"/>
              <a:gd name="connsiteX8" fmla="*/ 12158 w 22451"/>
              <a:gd name="connsiteY8" fmla="*/ 8191 h 21444"/>
              <a:gd name="connsiteX9" fmla="*/ 14085 w 22451"/>
              <a:gd name="connsiteY9" fmla="*/ 20006 h 21444"/>
              <a:gd name="connsiteX10" fmla="*/ 15693 w 22451"/>
              <a:gd name="connsiteY10" fmla="*/ 4192 h 21444"/>
              <a:gd name="connsiteX11" fmla="*/ 16795 w 22451"/>
              <a:gd name="connsiteY11" fmla="*/ 11819 h 21444"/>
              <a:gd name="connsiteX12" fmla="*/ 17385 w 22451"/>
              <a:gd name="connsiteY12" fmla="*/ 18082 h 21444"/>
              <a:gd name="connsiteX13" fmla="*/ 18413 w 22451"/>
              <a:gd name="connsiteY13" fmla="*/ 20417 h 21444"/>
              <a:gd name="connsiteX14" fmla="*/ 19112 w 22451"/>
              <a:gd name="connsiteY14" fmla="*/ 15746 h 21444"/>
              <a:gd name="connsiteX15" fmla="*/ 19752 w 22451"/>
              <a:gd name="connsiteY15" fmla="*/ 7337 h 21444"/>
              <a:gd name="connsiteX16" fmla="*/ 20666 w 22451"/>
              <a:gd name="connsiteY16" fmla="*/ 6188 h 21444"/>
              <a:gd name="connsiteX17" fmla="*/ 22451 w 22451"/>
              <a:gd name="connsiteY17" fmla="*/ 770 h 21444"/>
              <a:gd name="connsiteX0" fmla="*/ 0 w 22451"/>
              <a:gd name="connsiteY0" fmla="*/ 12062 h 21444"/>
              <a:gd name="connsiteX1" fmla="*/ 847 w 22451"/>
              <a:gd name="connsiteY1" fmla="*/ 15432 h 21444"/>
              <a:gd name="connsiteX2" fmla="*/ 2274 w 22451"/>
              <a:gd name="connsiteY2" fmla="*/ 13038 h 21444"/>
              <a:gd name="connsiteX3" fmla="*/ 3501 w 22451"/>
              <a:gd name="connsiteY3" fmla="*/ 5529 h 21444"/>
              <a:gd name="connsiteX4" fmla="*/ 5045 w 22451"/>
              <a:gd name="connsiteY4" fmla="*/ 7319 h 21444"/>
              <a:gd name="connsiteX5" fmla="*/ 6646 w 22451"/>
              <a:gd name="connsiteY5" fmla="*/ 16230 h 21444"/>
              <a:gd name="connsiteX6" fmla="*/ 9065 w 22451"/>
              <a:gd name="connsiteY6" fmla="*/ 0 h 21444"/>
              <a:gd name="connsiteX7" fmla="*/ 10168 w 22451"/>
              <a:gd name="connsiteY7" fmla="*/ 21353 h 21444"/>
              <a:gd name="connsiteX8" fmla="*/ 12158 w 22451"/>
              <a:gd name="connsiteY8" fmla="*/ 8191 h 21444"/>
              <a:gd name="connsiteX9" fmla="*/ 14085 w 22451"/>
              <a:gd name="connsiteY9" fmla="*/ 20006 h 21444"/>
              <a:gd name="connsiteX10" fmla="*/ 15693 w 22451"/>
              <a:gd name="connsiteY10" fmla="*/ 4192 h 21444"/>
              <a:gd name="connsiteX11" fmla="*/ 16795 w 22451"/>
              <a:gd name="connsiteY11" fmla="*/ 11819 h 21444"/>
              <a:gd name="connsiteX12" fmla="*/ 17385 w 22451"/>
              <a:gd name="connsiteY12" fmla="*/ 18082 h 21444"/>
              <a:gd name="connsiteX13" fmla="*/ 18413 w 22451"/>
              <a:gd name="connsiteY13" fmla="*/ 20417 h 21444"/>
              <a:gd name="connsiteX14" fmla="*/ 19112 w 22451"/>
              <a:gd name="connsiteY14" fmla="*/ 15746 h 21444"/>
              <a:gd name="connsiteX15" fmla="*/ 19752 w 22451"/>
              <a:gd name="connsiteY15" fmla="*/ 7337 h 21444"/>
              <a:gd name="connsiteX16" fmla="*/ 20666 w 22451"/>
              <a:gd name="connsiteY16" fmla="*/ 6188 h 21444"/>
              <a:gd name="connsiteX17" fmla="*/ 22451 w 22451"/>
              <a:gd name="connsiteY17" fmla="*/ 770 h 21444"/>
              <a:gd name="connsiteX0" fmla="*/ 0 w 22451"/>
              <a:gd name="connsiteY0" fmla="*/ 12274 h 21656"/>
              <a:gd name="connsiteX1" fmla="*/ 847 w 22451"/>
              <a:gd name="connsiteY1" fmla="*/ 15644 h 21656"/>
              <a:gd name="connsiteX2" fmla="*/ 2274 w 22451"/>
              <a:gd name="connsiteY2" fmla="*/ 13250 h 21656"/>
              <a:gd name="connsiteX3" fmla="*/ 3501 w 22451"/>
              <a:gd name="connsiteY3" fmla="*/ 5741 h 21656"/>
              <a:gd name="connsiteX4" fmla="*/ 5045 w 22451"/>
              <a:gd name="connsiteY4" fmla="*/ 7531 h 21656"/>
              <a:gd name="connsiteX5" fmla="*/ 6646 w 22451"/>
              <a:gd name="connsiteY5" fmla="*/ 16442 h 21656"/>
              <a:gd name="connsiteX6" fmla="*/ 9065 w 22451"/>
              <a:gd name="connsiteY6" fmla="*/ 212 h 21656"/>
              <a:gd name="connsiteX7" fmla="*/ 10168 w 22451"/>
              <a:gd name="connsiteY7" fmla="*/ 21565 h 21656"/>
              <a:gd name="connsiteX8" fmla="*/ 12158 w 22451"/>
              <a:gd name="connsiteY8" fmla="*/ 8403 h 21656"/>
              <a:gd name="connsiteX9" fmla="*/ 14085 w 22451"/>
              <a:gd name="connsiteY9" fmla="*/ 20218 h 21656"/>
              <a:gd name="connsiteX10" fmla="*/ 15693 w 22451"/>
              <a:gd name="connsiteY10" fmla="*/ 4404 h 21656"/>
              <a:gd name="connsiteX11" fmla="*/ 16795 w 22451"/>
              <a:gd name="connsiteY11" fmla="*/ 12031 h 21656"/>
              <a:gd name="connsiteX12" fmla="*/ 17385 w 22451"/>
              <a:gd name="connsiteY12" fmla="*/ 18294 h 21656"/>
              <a:gd name="connsiteX13" fmla="*/ 18413 w 22451"/>
              <a:gd name="connsiteY13" fmla="*/ 20629 h 21656"/>
              <a:gd name="connsiteX14" fmla="*/ 19112 w 22451"/>
              <a:gd name="connsiteY14" fmla="*/ 15958 h 21656"/>
              <a:gd name="connsiteX15" fmla="*/ 19752 w 22451"/>
              <a:gd name="connsiteY15" fmla="*/ 7549 h 21656"/>
              <a:gd name="connsiteX16" fmla="*/ 20666 w 22451"/>
              <a:gd name="connsiteY16" fmla="*/ 6400 h 21656"/>
              <a:gd name="connsiteX17" fmla="*/ 22451 w 22451"/>
              <a:gd name="connsiteY17" fmla="*/ 982 h 21656"/>
              <a:gd name="connsiteX0" fmla="*/ 0 w 22451"/>
              <a:gd name="connsiteY0" fmla="*/ 11292 h 20646"/>
              <a:gd name="connsiteX1" fmla="*/ 847 w 22451"/>
              <a:gd name="connsiteY1" fmla="*/ 14662 h 20646"/>
              <a:gd name="connsiteX2" fmla="*/ 2274 w 22451"/>
              <a:gd name="connsiteY2" fmla="*/ 12268 h 20646"/>
              <a:gd name="connsiteX3" fmla="*/ 3501 w 22451"/>
              <a:gd name="connsiteY3" fmla="*/ 4759 h 20646"/>
              <a:gd name="connsiteX4" fmla="*/ 5045 w 22451"/>
              <a:gd name="connsiteY4" fmla="*/ 6549 h 20646"/>
              <a:gd name="connsiteX5" fmla="*/ 6646 w 22451"/>
              <a:gd name="connsiteY5" fmla="*/ 15460 h 20646"/>
              <a:gd name="connsiteX6" fmla="*/ 8810 w 22451"/>
              <a:gd name="connsiteY6" fmla="*/ 713 h 20646"/>
              <a:gd name="connsiteX7" fmla="*/ 10168 w 22451"/>
              <a:gd name="connsiteY7" fmla="*/ 20583 h 20646"/>
              <a:gd name="connsiteX8" fmla="*/ 12158 w 22451"/>
              <a:gd name="connsiteY8" fmla="*/ 7421 h 20646"/>
              <a:gd name="connsiteX9" fmla="*/ 14085 w 22451"/>
              <a:gd name="connsiteY9" fmla="*/ 19236 h 20646"/>
              <a:gd name="connsiteX10" fmla="*/ 15693 w 22451"/>
              <a:gd name="connsiteY10" fmla="*/ 3422 h 20646"/>
              <a:gd name="connsiteX11" fmla="*/ 16795 w 22451"/>
              <a:gd name="connsiteY11" fmla="*/ 11049 h 20646"/>
              <a:gd name="connsiteX12" fmla="*/ 17385 w 22451"/>
              <a:gd name="connsiteY12" fmla="*/ 17312 h 20646"/>
              <a:gd name="connsiteX13" fmla="*/ 18413 w 22451"/>
              <a:gd name="connsiteY13" fmla="*/ 19647 h 20646"/>
              <a:gd name="connsiteX14" fmla="*/ 19112 w 22451"/>
              <a:gd name="connsiteY14" fmla="*/ 14976 h 20646"/>
              <a:gd name="connsiteX15" fmla="*/ 19752 w 22451"/>
              <a:gd name="connsiteY15" fmla="*/ 6567 h 20646"/>
              <a:gd name="connsiteX16" fmla="*/ 20666 w 22451"/>
              <a:gd name="connsiteY16" fmla="*/ 5418 h 20646"/>
              <a:gd name="connsiteX17" fmla="*/ 22451 w 22451"/>
              <a:gd name="connsiteY17" fmla="*/ 0 h 20646"/>
              <a:gd name="connsiteX0" fmla="*/ 0 w 22451"/>
              <a:gd name="connsiteY0" fmla="*/ 11292 h 20646"/>
              <a:gd name="connsiteX1" fmla="*/ 847 w 22451"/>
              <a:gd name="connsiteY1" fmla="*/ 14662 h 20646"/>
              <a:gd name="connsiteX2" fmla="*/ 2274 w 22451"/>
              <a:gd name="connsiteY2" fmla="*/ 12268 h 20646"/>
              <a:gd name="connsiteX3" fmla="*/ 3501 w 22451"/>
              <a:gd name="connsiteY3" fmla="*/ 4759 h 20646"/>
              <a:gd name="connsiteX4" fmla="*/ 5045 w 22451"/>
              <a:gd name="connsiteY4" fmla="*/ 6549 h 20646"/>
              <a:gd name="connsiteX5" fmla="*/ 6646 w 22451"/>
              <a:gd name="connsiteY5" fmla="*/ 15460 h 20646"/>
              <a:gd name="connsiteX6" fmla="*/ 8810 w 22451"/>
              <a:gd name="connsiteY6" fmla="*/ 713 h 20646"/>
              <a:gd name="connsiteX7" fmla="*/ 10168 w 22451"/>
              <a:gd name="connsiteY7" fmla="*/ 20583 h 20646"/>
              <a:gd name="connsiteX8" fmla="*/ 12158 w 22451"/>
              <a:gd name="connsiteY8" fmla="*/ 7421 h 20646"/>
              <a:gd name="connsiteX9" fmla="*/ 14085 w 22451"/>
              <a:gd name="connsiteY9" fmla="*/ 19236 h 20646"/>
              <a:gd name="connsiteX10" fmla="*/ 15693 w 22451"/>
              <a:gd name="connsiteY10" fmla="*/ 3422 h 20646"/>
              <a:gd name="connsiteX11" fmla="*/ 16795 w 22451"/>
              <a:gd name="connsiteY11" fmla="*/ 11049 h 20646"/>
              <a:gd name="connsiteX12" fmla="*/ 17385 w 22451"/>
              <a:gd name="connsiteY12" fmla="*/ 17312 h 20646"/>
              <a:gd name="connsiteX13" fmla="*/ 18413 w 22451"/>
              <a:gd name="connsiteY13" fmla="*/ 19647 h 20646"/>
              <a:gd name="connsiteX14" fmla="*/ 19112 w 22451"/>
              <a:gd name="connsiteY14" fmla="*/ 14976 h 20646"/>
              <a:gd name="connsiteX15" fmla="*/ 19752 w 22451"/>
              <a:gd name="connsiteY15" fmla="*/ 6567 h 20646"/>
              <a:gd name="connsiteX16" fmla="*/ 20666 w 22451"/>
              <a:gd name="connsiteY16" fmla="*/ 5418 h 20646"/>
              <a:gd name="connsiteX17" fmla="*/ 22451 w 22451"/>
              <a:gd name="connsiteY17" fmla="*/ 0 h 20646"/>
              <a:gd name="connsiteX0" fmla="*/ 0 w 22451"/>
              <a:gd name="connsiteY0" fmla="*/ 11292 h 23603"/>
              <a:gd name="connsiteX1" fmla="*/ 847 w 22451"/>
              <a:gd name="connsiteY1" fmla="*/ 14662 h 23603"/>
              <a:gd name="connsiteX2" fmla="*/ 2274 w 22451"/>
              <a:gd name="connsiteY2" fmla="*/ 12268 h 23603"/>
              <a:gd name="connsiteX3" fmla="*/ 3501 w 22451"/>
              <a:gd name="connsiteY3" fmla="*/ 4759 h 23603"/>
              <a:gd name="connsiteX4" fmla="*/ 5045 w 22451"/>
              <a:gd name="connsiteY4" fmla="*/ 6549 h 23603"/>
              <a:gd name="connsiteX5" fmla="*/ 6646 w 22451"/>
              <a:gd name="connsiteY5" fmla="*/ 15460 h 23603"/>
              <a:gd name="connsiteX6" fmla="*/ 8810 w 22451"/>
              <a:gd name="connsiteY6" fmla="*/ 713 h 23603"/>
              <a:gd name="connsiteX7" fmla="*/ 10698 w 22451"/>
              <a:gd name="connsiteY7" fmla="*/ 23549 h 23603"/>
              <a:gd name="connsiteX8" fmla="*/ 12158 w 22451"/>
              <a:gd name="connsiteY8" fmla="*/ 7421 h 23603"/>
              <a:gd name="connsiteX9" fmla="*/ 14085 w 22451"/>
              <a:gd name="connsiteY9" fmla="*/ 19236 h 23603"/>
              <a:gd name="connsiteX10" fmla="*/ 15693 w 22451"/>
              <a:gd name="connsiteY10" fmla="*/ 3422 h 23603"/>
              <a:gd name="connsiteX11" fmla="*/ 16795 w 22451"/>
              <a:gd name="connsiteY11" fmla="*/ 11049 h 23603"/>
              <a:gd name="connsiteX12" fmla="*/ 17385 w 22451"/>
              <a:gd name="connsiteY12" fmla="*/ 17312 h 23603"/>
              <a:gd name="connsiteX13" fmla="*/ 18413 w 22451"/>
              <a:gd name="connsiteY13" fmla="*/ 19647 h 23603"/>
              <a:gd name="connsiteX14" fmla="*/ 19112 w 22451"/>
              <a:gd name="connsiteY14" fmla="*/ 14976 h 23603"/>
              <a:gd name="connsiteX15" fmla="*/ 19752 w 22451"/>
              <a:gd name="connsiteY15" fmla="*/ 6567 h 23603"/>
              <a:gd name="connsiteX16" fmla="*/ 20666 w 22451"/>
              <a:gd name="connsiteY16" fmla="*/ 5418 h 23603"/>
              <a:gd name="connsiteX17" fmla="*/ 22451 w 22451"/>
              <a:gd name="connsiteY17" fmla="*/ 0 h 23603"/>
              <a:gd name="connsiteX0" fmla="*/ 0 w 22451"/>
              <a:gd name="connsiteY0" fmla="*/ 11292 h 23603"/>
              <a:gd name="connsiteX1" fmla="*/ 847 w 22451"/>
              <a:gd name="connsiteY1" fmla="*/ 14662 h 23603"/>
              <a:gd name="connsiteX2" fmla="*/ 2274 w 22451"/>
              <a:gd name="connsiteY2" fmla="*/ 12268 h 23603"/>
              <a:gd name="connsiteX3" fmla="*/ 3501 w 22451"/>
              <a:gd name="connsiteY3" fmla="*/ 4759 h 23603"/>
              <a:gd name="connsiteX4" fmla="*/ 5045 w 22451"/>
              <a:gd name="connsiteY4" fmla="*/ 6549 h 23603"/>
              <a:gd name="connsiteX5" fmla="*/ 6646 w 22451"/>
              <a:gd name="connsiteY5" fmla="*/ 15460 h 23603"/>
              <a:gd name="connsiteX6" fmla="*/ 8810 w 22451"/>
              <a:gd name="connsiteY6" fmla="*/ 713 h 23603"/>
              <a:gd name="connsiteX7" fmla="*/ 10698 w 22451"/>
              <a:gd name="connsiteY7" fmla="*/ 23549 h 23603"/>
              <a:gd name="connsiteX8" fmla="*/ 12158 w 22451"/>
              <a:gd name="connsiteY8" fmla="*/ 7421 h 23603"/>
              <a:gd name="connsiteX9" fmla="*/ 14085 w 22451"/>
              <a:gd name="connsiteY9" fmla="*/ 19236 h 23603"/>
              <a:gd name="connsiteX10" fmla="*/ 15693 w 22451"/>
              <a:gd name="connsiteY10" fmla="*/ 3422 h 23603"/>
              <a:gd name="connsiteX11" fmla="*/ 16795 w 22451"/>
              <a:gd name="connsiteY11" fmla="*/ 11049 h 23603"/>
              <a:gd name="connsiteX12" fmla="*/ 17385 w 22451"/>
              <a:gd name="connsiteY12" fmla="*/ 17312 h 23603"/>
              <a:gd name="connsiteX13" fmla="*/ 18413 w 22451"/>
              <a:gd name="connsiteY13" fmla="*/ 19647 h 23603"/>
              <a:gd name="connsiteX14" fmla="*/ 19112 w 22451"/>
              <a:gd name="connsiteY14" fmla="*/ 14976 h 23603"/>
              <a:gd name="connsiteX15" fmla="*/ 19752 w 22451"/>
              <a:gd name="connsiteY15" fmla="*/ 6567 h 23603"/>
              <a:gd name="connsiteX16" fmla="*/ 20666 w 22451"/>
              <a:gd name="connsiteY16" fmla="*/ 5418 h 23603"/>
              <a:gd name="connsiteX17" fmla="*/ 22451 w 22451"/>
              <a:gd name="connsiteY17" fmla="*/ 0 h 23603"/>
              <a:gd name="connsiteX0" fmla="*/ 0 w 22451"/>
              <a:gd name="connsiteY0" fmla="*/ 11292 h 23603"/>
              <a:gd name="connsiteX1" fmla="*/ 847 w 22451"/>
              <a:gd name="connsiteY1" fmla="*/ 14662 h 23603"/>
              <a:gd name="connsiteX2" fmla="*/ 2274 w 22451"/>
              <a:gd name="connsiteY2" fmla="*/ 12268 h 23603"/>
              <a:gd name="connsiteX3" fmla="*/ 3501 w 22451"/>
              <a:gd name="connsiteY3" fmla="*/ 4759 h 23603"/>
              <a:gd name="connsiteX4" fmla="*/ 5045 w 22451"/>
              <a:gd name="connsiteY4" fmla="*/ 6549 h 23603"/>
              <a:gd name="connsiteX5" fmla="*/ 6646 w 22451"/>
              <a:gd name="connsiteY5" fmla="*/ 15460 h 23603"/>
              <a:gd name="connsiteX6" fmla="*/ 8810 w 22451"/>
              <a:gd name="connsiteY6" fmla="*/ 713 h 23603"/>
              <a:gd name="connsiteX7" fmla="*/ 10698 w 22451"/>
              <a:gd name="connsiteY7" fmla="*/ 23549 h 23603"/>
              <a:gd name="connsiteX8" fmla="*/ 12158 w 22451"/>
              <a:gd name="connsiteY8" fmla="*/ 7421 h 23603"/>
              <a:gd name="connsiteX9" fmla="*/ 14085 w 22451"/>
              <a:gd name="connsiteY9" fmla="*/ 19236 h 23603"/>
              <a:gd name="connsiteX10" fmla="*/ 15693 w 22451"/>
              <a:gd name="connsiteY10" fmla="*/ 3422 h 23603"/>
              <a:gd name="connsiteX11" fmla="*/ 16795 w 22451"/>
              <a:gd name="connsiteY11" fmla="*/ 11049 h 23603"/>
              <a:gd name="connsiteX12" fmla="*/ 17385 w 22451"/>
              <a:gd name="connsiteY12" fmla="*/ 17312 h 23603"/>
              <a:gd name="connsiteX13" fmla="*/ 18413 w 22451"/>
              <a:gd name="connsiteY13" fmla="*/ 19647 h 23603"/>
              <a:gd name="connsiteX14" fmla="*/ 19112 w 22451"/>
              <a:gd name="connsiteY14" fmla="*/ 14976 h 23603"/>
              <a:gd name="connsiteX15" fmla="*/ 19752 w 22451"/>
              <a:gd name="connsiteY15" fmla="*/ 6567 h 23603"/>
              <a:gd name="connsiteX16" fmla="*/ 20666 w 22451"/>
              <a:gd name="connsiteY16" fmla="*/ 5418 h 23603"/>
              <a:gd name="connsiteX17" fmla="*/ 22451 w 22451"/>
              <a:gd name="connsiteY17" fmla="*/ 0 h 23603"/>
              <a:gd name="connsiteX0" fmla="*/ 0 w 22451"/>
              <a:gd name="connsiteY0" fmla="*/ 11292 h 23603"/>
              <a:gd name="connsiteX1" fmla="*/ 847 w 22451"/>
              <a:gd name="connsiteY1" fmla="*/ 14662 h 23603"/>
              <a:gd name="connsiteX2" fmla="*/ 2274 w 22451"/>
              <a:gd name="connsiteY2" fmla="*/ 12268 h 23603"/>
              <a:gd name="connsiteX3" fmla="*/ 3501 w 22451"/>
              <a:gd name="connsiteY3" fmla="*/ 4759 h 23603"/>
              <a:gd name="connsiteX4" fmla="*/ 5045 w 22451"/>
              <a:gd name="connsiteY4" fmla="*/ 6549 h 23603"/>
              <a:gd name="connsiteX5" fmla="*/ 6646 w 22451"/>
              <a:gd name="connsiteY5" fmla="*/ 15460 h 23603"/>
              <a:gd name="connsiteX6" fmla="*/ 8810 w 22451"/>
              <a:gd name="connsiteY6" fmla="*/ 713 h 23603"/>
              <a:gd name="connsiteX7" fmla="*/ 10698 w 22451"/>
              <a:gd name="connsiteY7" fmla="*/ 23549 h 23603"/>
              <a:gd name="connsiteX8" fmla="*/ 12158 w 22451"/>
              <a:gd name="connsiteY8" fmla="*/ 7421 h 23603"/>
              <a:gd name="connsiteX9" fmla="*/ 14085 w 22451"/>
              <a:gd name="connsiteY9" fmla="*/ 19236 h 23603"/>
              <a:gd name="connsiteX10" fmla="*/ 15693 w 22451"/>
              <a:gd name="connsiteY10" fmla="*/ 3422 h 23603"/>
              <a:gd name="connsiteX11" fmla="*/ 16795 w 22451"/>
              <a:gd name="connsiteY11" fmla="*/ 11049 h 23603"/>
              <a:gd name="connsiteX12" fmla="*/ 17385 w 22451"/>
              <a:gd name="connsiteY12" fmla="*/ 17312 h 23603"/>
              <a:gd name="connsiteX13" fmla="*/ 18413 w 22451"/>
              <a:gd name="connsiteY13" fmla="*/ 19647 h 23603"/>
              <a:gd name="connsiteX14" fmla="*/ 19112 w 22451"/>
              <a:gd name="connsiteY14" fmla="*/ 14976 h 23603"/>
              <a:gd name="connsiteX15" fmla="*/ 19752 w 22451"/>
              <a:gd name="connsiteY15" fmla="*/ 6567 h 23603"/>
              <a:gd name="connsiteX16" fmla="*/ 20666 w 22451"/>
              <a:gd name="connsiteY16" fmla="*/ 5418 h 23603"/>
              <a:gd name="connsiteX17" fmla="*/ 22451 w 22451"/>
              <a:gd name="connsiteY17" fmla="*/ 0 h 23603"/>
              <a:gd name="connsiteX0" fmla="*/ 0 w 22451"/>
              <a:gd name="connsiteY0" fmla="*/ 11292 h 23603"/>
              <a:gd name="connsiteX1" fmla="*/ 847 w 22451"/>
              <a:gd name="connsiteY1" fmla="*/ 14662 h 23603"/>
              <a:gd name="connsiteX2" fmla="*/ 2274 w 22451"/>
              <a:gd name="connsiteY2" fmla="*/ 12268 h 23603"/>
              <a:gd name="connsiteX3" fmla="*/ 3501 w 22451"/>
              <a:gd name="connsiteY3" fmla="*/ 4759 h 23603"/>
              <a:gd name="connsiteX4" fmla="*/ 5045 w 22451"/>
              <a:gd name="connsiteY4" fmla="*/ 6549 h 23603"/>
              <a:gd name="connsiteX5" fmla="*/ 6646 w 22451"/>
              <a:gd name="connsiteY5" fmla="*/ 15460 h 23603"/>
              <a:gd name="connsiteX6" fmla="*/ 8810 w 22451"/>
              <a:gd name="connsiteY6" fmla="*/ 713 h 23603"/>
              <a:gd name="connsiteX7" fmla="*/ 10698 w 22451"/>
              <a:gd name="connsiteY7" fmla="*/ 23549 h 23603"/>
              <a:gd name="connsiteX8" fmla="*/ 12158 w 22451"/>
              <a:gd name="connsiteY8" fmla="*/ 7421 h 23603"/>
              <a:gd name="connsiteX9" fmla="*/ 14085 w 22451"/>
              <a:gd name="connsiteY9" fmla="*/ 19236 h 23603"/>
              <a:gd name="connsiteX10" fmla="*/ 15693 w 22451"/>
              <a:gd name="connsiteY10" fmla="*/ 3422 h 23603"/>
              <a:gd name="connsiteX11" fmla="*/ 16795 w 22451"/>
              <a:gd name="connsiteY11" fmla="*/ 11049 h 23603"/>
              <a:gd name="connsiteX12" fmla="*/ 17385 w 22451"/>
              <a:gd name="connsiteY12" fmla="*/ 17312 h 23603"/>
              <a:gd name="connsiteX13" fmla="*/ 18413 w 22451"/>
              <a:gd name="connsiteY13" fmla="*/ 19647 h 23603"/>
              <a:gd name="connsiteX14" fmla="*/ 19112 w 22451"/>
              <a:gd name="connsiteY14" fmla="*/ 14976 h 23603"/>
              <a:gd name="connsiteX15" fmla="*/ 19752 w 22451"/>
              <a:gd name="connsiteY15" fmla="*/ 6567 h 23603"/>
              <a:gd name="connsiteX16" fmla="*/ 20666 w 22451"/>
              <a:gd name="connsiteY16" fmla="*/ 5418 h 23603"/>
              <a:gd name="connsiteX17" fmla="*/ 22451 w 22451"/>
              <a:gd name="connsiteY17" fmla="*/ 0 h 23603"/>
              <a:gd name="connsiteX0" fmla="*/ 0 w 22451"/>
              <a:gd name="connsiteY0" fmla="*/ 11292 h 23603"/>
              <a:gd name="connsiteX1" fmla="*/ 847 w 22451"/>
              <a:gd name="connsiteY1" fmla="*/ 14662 h 23603"/>
              <a:gd name="connsiteX2" fmla="*/ 2274 w 22451"/>
              <a:gd name="connsiteY2" fmla="*/ 12268 h 23603"/>
              <a:gd name="connsiteX3" fmla="*/ 3501 w 22451"/>
              <a:gd name="connsiteY3" fmla="*/ 4759 h 23603"/>
              <a:gd name="connsiteX4" fmla="*/ 5045 w 22451"/>
              <a:gd name="connsiteY4" fmla="*/ 6549 h 23603"/>
              <a:gd name="connsiteX5" fmla="*/ 6646 w 22451"/>
              <a:gd name="connsiteY5" fmla="*/ 15460 h 23603"/>
              <a:gd name="connsiteX6" fmla="*/ 8810 w 22451"/>
              <a:gd name="connsiteY6" fmla="*/ 713 h 23603"/>
              <a:gd name="connsiteX7" fmla="*/ 10698 w 22451"/>
              <a:gd name="connsiteY7" fmla="*/ 23549 h 23603"/>
              <a:gd name="connsiteX8" fmla="*/ 12158 w 22451"/>
              <a:gd name="connsiteY8" fmla="*/ 7421 h 23603"/>
              <a:gd name="connsiteX9" fmla="*/ 14085 w 22451"/>
              <a:gd name="connsiteY9" fmla="*/ 19236 h 23603"/>
              <a:gd name="connsiteX10" fmla="*/ 15693 w 22451"/>
              <a:gd name="connsiteY10" fmla="*/ 3422 h 23603"/>
              <a:gd name="connsiteX11" fmla="*/ 16795 w 22451"/>
              <a:gd name="connsiteY11" fmla="*/ 11049 h 23603"/>
              <a:gd name="connsiteX12" fmla="*/ 17385 w 22451"/>
              <a:gd name="connsiteY12" fmla="*/ 17312 h 23603"/>
              <a:gd name="connsiteX13" fmla="*/ 18413 w 22451"/>
              <a:gd name="connsiteY13" fmla="*/ 19647 h 23603"/>
              <a:gd name="connsiteX14" fmla="*/ 19112 w 22451"/>
              <a:gd name="connsiteY14" fmla="*/ 14976 h 23603"/>
              <a:gd name="connsiteX15" fmla="*/ 19752 w 22451"/>
              <a:gd name="connsiteY15" fmla="*/ 6567 h 23603"/>
              <a:gd name="connsiteX16" fmla="*/ 20666 w 22451"/>
              <a:gd name="connsiteY16" fmla="*/ 5418 h 23603"/>
              <a:gd name="connsiteX17" fmla="*/ 22451 w 22451"/>
              <a:gd name="connsiteY17" fmla="*/ 0 h 23603"/>
              <a:gd name="connsiteX0" fmla="*/ 0 w 22451"/>
              <a:gd name="connsiteY0" fmla="*/ 11292 h 23603"/>
              <a:gd name="connsiteX1" fmla="*/ 847 w 22451"/>
              <a:gd name="connsiteY1" fmla="*/ 14662 h 23603"/>
              <a:gd name="connsiteX2" fmla="*/ 2274 w 22451"/>
              <a:gd name="connsiteY2" fmla="*/ 12268 h 23603"/>
              <a:gd name="connsiteX3" fmla="*/ 3501 w 22451"/>
              <a:gd name="connsiteY3" fmla="*/ 4759 h 23603"/>
              <a:gd name="connsiteX4" fmla="*/ 5045 w 22451"/>
              <a:gd name="connsiteY4" fmla="*/ 6549 h 23603"/>
              <a:gd name="connsiteX5" fmla="*/ 6646 w 22451"/>
              <a:gd name="connsiteY5" fmla="*/ 15460 h 23603"/>
              <a:gd name="connsiteX6" fmla="*/ 8810 w 22451"/>
              <a:gd name="connsiteY6" fmla="*/ 713 h 23603"/>
              <a:gd name="connsiteX7" fmla="*/ 10698 w 22451"/>
              <a:gd name="connsiteY7" fmla="*/ 23549 h 23603"/>
              <a:gd name="connsiteX8" fmla="*/ 12158 w 22451"/>
              <a:gd name="connsiteY8" fmla="*/ 7421 h 23603"/>
              <a:gd name="connsiteX9" fmla="*/ 14085 w 22451"/>
              <a:gd name="connsiteY9" fmla="*/ 19236 h 23603"/>
              <a:gd name="connsiteX10" fmla="*/ 15693 w 22451"/>
              <a:gd name="connsiteY10" fmla="*/ 3422 h 23603"/>
              <a:gd name="connsiteX11" fmla="*/ 16795 w 22451"/>
              <a:gd name="connsiteY11" fmla="*/ 11049 h 23603"/>
              <a:gd name="connsiteX12" fmla="*/ 17385 w 22451"/>
              <a:gd name="connsiteY12" fmla="*/ 17312 h 23603"/>
              <a:gd name="connsiteX13" fmla="*/ 18413 w 22451"/>
              <a:gd name="connsiteY13" fmla="*/ 19647 h 23603"/>
              <a:gd name="connsiteX14" fmla="*/ 19112 w 22451"/>
              <a:gd name="connsiteY14" fmla="*/ 14976 h 23603"/>
              <a:gd name="connsiteX15" fmla="*/ 19752 w 22451"/>
              <a:gd name="connsiteY15" fmla="*/ 6567 h 23603"/>
              <a:gd name="connsiteX16" fmla="*/ 20666 w 22451"/>
              <a:gd name="connsiteY16" fmla="*/ 5418 h 23603"/>
              <a:gd name="connsiteX17" fmla="*/ 22451 w 22451"/>
              <a:gd name="connsiteY17" fmla="*/ 0 h 23603"/>
              <a:gd name="connsiteX0" fmla="*/ 0 w 22451"/>
              <a:gd name="connsiteY0" fmla="*/ 11292 h 23603"/>
              <a:gd name="connsiteX1" fmla="*/ 847 w 22451"/>
              <a:gd name="connsiteY1" fmla="*/ 14662 h 23603"/>
              <a:gd name="connsiteX2" fmla="*/ 2274 w 22451"/>
              <a:gd name="connsiteY2" fmla="*/ 12268 h 23603"/>
              <a:gd name="connsiteX3" fmla="*/ 3501 w 22451"/>
              <a:gd name="connsiteY3" fmla="*/ 4759 h 23603"/>
              <a:gd name="connsiteX4" fmla="*/ 5045 w 22451"/>
              <a:gd name="connsiteY4" fmla="*/ 6549 h 23603"/>
              <a:gd name="connsiteX5" fmla="*/ 6646 w 22451"/>
              <a:gd name="connsiteY5" fmla="*/ 15460 h 23603"/>
              <a:gd name="connsiteX6" fmla="*/ 8810 w 22451"/>
              <a:gd name="connsiteY6" fmla="*/ 713 h 23603"/>
              <a:gd name="connsiteX7" fmla="*/ 10698 w 22451"/>
              <a:gd name="connsiteY7" fmla="*/ 23549 h 23603"/>
              <a:gd name="connsiteX8" fmla="*/ 12158 w 22451"/>
              <a:gd name="connsiteY8" fmla="*/ 7421 h 23603"/>
              <a:gd name="connsiteX9" fmla="*/ 14085 w 22451"/>
              <a:gd name="connsiteY9" fmla="*/ 19236 h 23603"/>
              <a:gd name="connsiteX10" fmla="*/ 15693 w 22451"/>
              <a:gd name="connsiteY10" fmla="*/ 3422 h 23603"/>
              <a:gd name="connsiteX11" fmla="*/ 16795 w 22451"/>
              <a:gd name="connsiteY11" fmla="*/ 11049 h 23603"/>
              <a:gd name="connsiteX12" fmla="*/ 17385 w 22451"/>
              <a:gd name="connsiteY12" fmla="*/ 17312 h 23603"/>
              <a:gd name="connsiteX13" fmla="*/ 18413 w 22451"/>
              <a:gd name="connsiteY13" fmla="*/ 19647 h 23603"/>
              <a:gd name="connsiteX14" fmla="*/ 19112 w 22451"/>
              <a:gd name="connsiteY14" fmla="*/ 14976 h 23603"/>
              <a:gd name="connsiteX15" fmla="*/ 19752 w 22451"/>
              <a:gd name="connsiteY15" fmla="*/ 6567 h 23603"/>
              <a:gd name="connsiteX16" fmla="*/ 20666 w 22451"/>
              <a:gd name="connsiteY16" fmla="*/ 5418 h 23603"/>
              <a:gd name="connsiteX17" fmla="*/ 22451 w 22451"/>
              <a:gd name="connsiteY17" fmla="*/ 0 h 23603"/>
              <a:gd name="connsiteX0" fmla="*/ 0 w 22451"/>
              <a:gd name="connsiteY0" fmla="*/ 11292 h 23603"/>
              <a:gd name="connsiteX1" fmla="*/ 847 w 22451"/>
              <a:gd name="connsiteY1" fmla="*/ 14662 h 23603"/>
              <a:gd name="connsiteX2" fmla="*/ 2274 w 22451"/>
              <a:gd name="connsiteY2" fmla="*/ 12268 h 23603"/>
              <a:gd name="connsiteX3" fmla="*/ 3501 w 22451"/>
              <a:gd name="connsiteY3" fmla="*/ 4759 h 23603"/>
              <a:gd name="connsiteX4" fmla="*/ 5045 w 22451"/>
              <a:gd name="connsiteY4" fmla="*/ 6549 h 23603"/>
              <a:gd name="connsiteX5" fmla="*/ 6646 w 22451"/>
              <a:gd name="connsiteY5" fmla="*/ 15460 h 23603"/>
              <a:gd name="connsiteX6" fmla="*/ 8810 w 22451"/>
              <a:gd name="connsiteY6" fmla="*/ 713 h 23603"/>
              <a:gd name="connsiteX7" fmla="*/ 10698 w 22451"/>
              <a:gd name="connsiteY7" fmla="*/ 23549 h 23603"/>
              <a:gd name="connsiteX8" fmla="*/ 12158 w 22451"/>
              <a:gd name="connsiteY8" fmla="*/ 7421 h 23603"/>
              <a:gd name="connsiteX9" fmla="*/ 14085 w 22451"/>
              <a:gd name="connsiteY9" fmla="*/ 19236 h 23603"/>
              <a:gd name="connsiteX10" fmla="*/ 15693 w 22451"/>
              <a:gd name="connsiteY10" fmla="*/ 3422 h 23603"/>
              <a:gd name="connsiteX11" fmla="*/ 16795 w 22451"/>
              <a:gd name="connsiteY11" fmla="*/ 11049 h 23603"/>
              <a:gd name="connsiteX12" fmla="*/ 17385 w 22451"/>
              <a:gd name="connsiteY12" fmla="*/ 17312 h 23603"/>
              <a:gd name="connsiteX13" fmla="*/ 18413 w 22451"/>
              <a:gd name="connsiteY13" fmla="*/ 19647 h 23603"/>
              <a:gd name="connsiteX14" fmla="*/ 19112 w 22451"/>
              <a:gd name="connsiteY14" fmla="*/ 14976 h 23603"/>
              <a:gd name="connsiteX15" fmla="*/ 19752 w 22451"/>
              <a:gd name="connsiteY15" fmla="*/ 6567 h 23603"/>
              <a:gd name="connsiteX16" fmla="*/ 20666 w 22451"/>
              <a:gd name="connsiteY16" fmla="*/ 5418 h 23603"/>
              <a:gd name="connsiteX17" fmla="*/ 22451 w 22451"/>
              <a:gd name="connsiteY17" fmla="*/ 0 h 23603"/>
              <a:gd name="connsiteX0" fmla="*/ 0 w 22451"/>
              <a:gd name="connsiteY0" fmla="*/ 11355 h 23666"/>
              <a:gd name="connsiteX1" fmla="*/ 847 w 22451"/>
              <a:gd name="connsiteY1" fmla="*/ 14725 h 23666"/>
              <a:gd name="connsiteX2" fmla="*/ 2274 w 22451"/>
              <a:gd name="connsiteY2" fmla="*/ 12331 h 23666"/>
              <a:gd name="connsiteX3" fmla="*/ 3501 w 22451"/>
              <a:gd name="connsiteY3" fmla="*/ 4822 h 23666"/>
              <a:gd name="connsiteX4" fmla="*/ 5045 w 22451"/>
              <a:gd name="connsiteY4" fmla="*/ 6612 h 23666"/>
              <a:gd name="connsiteX5" fmla="*/ 6646 w 22451"/>
              <a:gd name="connsiteY5" fmla="*/ 15523 h 23666"/>
              <a:gd name="connsiteX6" fmla="*/ 8810 w 22451"/>
              <a:gd name="connsiteY6" fmla="*/ 776 h 23666"/>
              <a:gd name="connsiteX7" fmla="*/ 10698 w 22451"/>
              <a:gd name="connsiteY7" fmla="*/ 23612 h 23666"/>
              <a:gd name="connsiteX8" fmla="*/ 12158 w 22451"/>
              <a:gd name="connsiteY8" fmla="*/ 7484 h 23666"/>
              <a:gd name="connsiteX9" fmla="*/ 14085 w 22451"/>
              <a:gd name="connsiteY9" fmla="*/ 19299 h 23666"/>
              <a:gd name="connsiteX10" fmla="*/ 15693 w 22451"/>
              <a:gd name="connsiteY10" fmla="*/ 3485 h 23666"/>
              <a:gd name="connsiteX11" fmla="*/ 16795 w 22451"/>
              <a:gd name="connsiteY11" fmla="*/ 11112 h 23666"/>
              <a:gd name="connsiteX12" fmla="*/ 17385 w 22451"/>
              <a:gd name="connsiteY12" fmla="*/ 17375 h 23666"/>
              <a:gd name="connsiteX13" fmla="*/ 18413 w 22451"/>
              <a:gd name="connsiteY13" fmla="*/ 19710 h 23666"/>
              <a:gd name="connsiteX14" fmla="*/ 19112 w 22451"/>
              <a:gd name="connsiteY14" fmla="*/ 15039 h 23666"/>
              <a:gd name="connsiteX15" fmla="*/ 19752 w 22451"/>
              <a:gd name="connsiteY15" fmla="*/ 6630 h 23666"/>
              <a:gd name="connsiteX16" fmla="*/ 20666 w 22451"/>
              <a:gd name="connsiteY16" fmla="*/ 5481 h 23666"/>
              <a:gd name="connsiteX17" fmla="*/ 22451 w 22451"/>
              <a:gd name="connsiteY17" fmla="*/ 63 h 23666"/>
              <a:gd name="connsiteX0" fmla="*/ 0 w 22451"/>
              <a:gd name="connsiteY0" fmla="*/ 12523 h 24834"/>
              <a:gd name="connsiteX1" fmla="*/ 847 w 22451"/>
              <a:gd name="connsiteY1" fmla="*/ 15893 h 24834"/>
              <a:gd name="connsiteX2" fmla="*/ 2274 w 22451"/>
              <a:gd name="connsiteY2" fmla="*/ 13499 h 24834"/>
              <a:gd name="connsiteX3" fmla="*/ 3501 w 22451"/>
              <a:gd name="connsiteY3" fmla="*/ 5990 h 24834"/>
              <a:gd name="connsiteX4" fmla="*/ 5575 w 22451"/>
              <a:gd name="connsiteY4" fmla="*/ 364 h 24834"/>
              <a:gd name="connsiteX5" fmla="*/ 6646 w 22451"/>
              <a:gd name="connsiteY5" fmla="*/ 16691 h 24834"/>
              <a:gd name="connsiteX6" fmla="*/ 8810 w 22451"/>
              <a:gd name="connsiteY6" fmla="*/ 1944 h 24834"/>
              <a:gd name="connsiteX7" fmla="*/ 10698 w 22451"/>
              <a:gd name="connsiteY7" fmla="*/ 24780 h 24834"/>
              <a:gd name="connsiteX8" fmla="*/ 12158 w 22451"/>
              <a:gd name="connsiteY8" fmla="*/ 8652 h 24834"/>
              <a:gd name="connsiteX9" fmla="*/ 14085 w 22451"/>
              <a:gd name="connsiteY9" fmla="*/ 20467 h 24834"/>
              <a:gd name="connsiteX10" fmla="*/ 15693 w 22451"/>
              <a:gd name="connsiteY10" fmla="*/ 4653 h 24834"/>
              <a:gd name="connsiteX11" fmla="*/ 16795 w 22451"/>
              <a:gd name="connsiteY11" fmla="*/ 12280 h 24834"/>
              <a:gd name="connsiteX12" fmla="*/ 17385 w 22451"/>
              <a:gd name="connsiteY12" fmla="*/ 18543 h 24834"/>
              <a:gd name="connsiteX13" fmla="*/ 18413 w 22451"/>
              <a:gd name="connsiteY13" fmla="*/ 20878 h 24834"/>
              <a:gd name="connsiteX14" fmla="*/ 19112 w 22451"/>
              <a:gd name="connsiteY14" fmla="*/ 16207 h 24834"/>
              <a:gd name="connsiteX15" fmla="*/ 19752 w 22451"/>
              <a:gd name="connsiteY15" fmla="*/ 7798 h 24834"/>
              <a:gd name="connsiteX16" fmla="*/ 20666 w 22451"/>
              <a:gd name="connsiteY16" fmla="*/ 6649 h 24834"/>
              <a:gd name="connsiteX17" fmla="*/ 22451 w 22451"/>
              <a:gd name="connsiteY17" fmla="*/ 1231 h 24834"/>
              <a:gd name="connsiteX0" fmla="*/ 0 w 22451"/>
              <a:gd name="connsiteY0" fmla="*/ 14098 h 26409"/>
              <a:gd name="connsiteX1" fmla="*/ 847 w 22451"/>
              <a:gd name="connsiteY1" fmla="*/ 17468 h 26409"/>
              <a:gd name="connsiteX2" fmla="*/ 2274 w 22451"/>
              <a:gd name="connsiteY2" fmla="*/ 15074 h 26409"/>
              <a:gd name="connsiteX3" fmla="*/ 3501 w 22451"/>
              <a:gd name="connsiteY3" fmla="*/ 7565 h 26409"/>
              <a:gd name="connsiteX4" fmla="*/ 5575 w 22451"/>
              <a:gd name="connsiteY4" fmla="*/ 1939 h 26409"/>
              <a:gd name="connsiteX5" fmla="*/ 6646 w 22451"/>
              <a:gd name="connsiteY5" fmla="*/ 18266 h 26409"/>
              <a:gd name="connsiteX6" fmla="*/ 8810 w 22451"/>
              <a:gd name="connsiteY6" fmla="*/ 3519 h 26409"/>
              <a:gd name="connsiteX7" fmla="*/ 10698 w 22451"/>
              <a:gd name="connsiteY7" fmla="*/ 26355 h 26409"/>
              <a:gd name="connsiteX8" fmla="*/ 12158 w 22451"/>
              <a:gd name="connsiteY8" fmla="*/ 10227 h 26409"/>
              <a:gd name="connsiteX9" fmla="*/ 14085 w 22451"/>
              <a:gd name="connsiteY9" fmla="*/ 22042 h 26409"/>
              <a:gd name="connsiteX10" fmla="*/ 15693 w 22451"/>
              <a:gd name="connsiteY10" fmla="*/ 6228 h 26409"/>
              <a:gd name="connsiteX11" fmla="*/ 16795 w 22451"/>
              <a:gd name="connsiteY11" fmla="*/ 13855 h 26409"/>
              <a:gd name="connsiteX12" fmla="*/ 17385 w 22451"/>
              <a:gd name="connsiteY12" fmla="*/ 20118 h 26409"/>
              <a:gd name="connsiteX13" fmla="*/ 18413 w 22451"/>
              <a:gd name="connsiteY13" fmla="*/ 22453 h 26409"/>
              <a:gd name="connsiteX14" fmla="*/ 19112 w 22451"/>
              <a:gd name="connsiteY14" fmla="*/ 17782 h 26409"/>
              <a:gd name="connsiteX15" fmla="*/ 19752 w 22451"/>
              <a:gd name="connsiteY15" fmla="*/ 9373 h 26409"/>
              <a:gd name="connsiteX16" fmla="*/ 20666 w 22451"/>
              <a:gd name="connsiteY16" fmla="*/ 8224 h 26409"/>
              <a:gd name="connsiteX17" fmla="*/ 22451 w 22451"/>
              <a:gd name="connsiteY17" fmla="*/ 2806 h 26409"/>
              <a:gd name="connsiteX0" fmla="*/ 0 w 22451"/>
              <a:gd name="connsiteY0" fmla="*/ 12524 h 24835"/>
              <a:gd name="connsiteX1" fmla="*/ 847 w 22451"/>
              <a:gd name="connsiteY1" fmla="*/ 15894 h 24835"/>
              <a:gd name="connsiteX2" fmla="*/ 2274 w 22451"/>
              <a:gd name="connsiteY2" fmla="*/ 13500 h 24835"/>
              <a:gd name="connsiteX3" fmla="*/ 3462 w 22451"/>
              <a:gd name="connsiteY3" fmla="*/ 5991 h 24835"/>
              <a:gd name="connsiteX4" fmla="*/ 5575 w 22451"/>
              <a:gd name="connsiteY4" fmla="*/ 365 h 24835"/>
              <a:gd name="connsiteX5" fmla="*/ 6646 w 22451"/>
              <a:gd name="connsiteY5" fmla="*/ 16692 h 24835"/>
              <a:gd name="connsiteX6" fmla="*/ 8810 w 22451"/>
              <a:gd name="connsiteY6" fmla="*/ 1945 h 24835"/>
              <a:gd name="connsiteX7" fmla="*/ 10698 w 22451"/>
              <a:gd name="connsiteY7" fmla="*/ 24781 h 24835"/>
              <a:gd name="connsiteX8" fmla="*/ 12158 w 22451"/>
              <a:gd name="connsiteY8" fmla="*/ 8653 h 24835"/>
              <a:gd name="connsiteX9" fmla="*/ 14085 w 22451"/>
              <a:gd name="connsiteY9" fmla="*/ 20468 h 24835"/>
              <a:gd name="connsiteX10" fmla="*/ 15693 w 22451"/>
              <a:gd name="connsiteY10" fmla="*/ 4654 h 24835"/>
              <a:gd name="connsiteX11" fmla="*/ 16795 w 22451"/>
              <a:gd name="connsiteY11" fmla="*/ 12281 h 24835"/>
              <a:gd name="connsiteX12" fmla="*/ 17385 w 22451"/>
              <a:gd name="connsiteY12" fmla="*/ 18544 h 24835"/>
              <a:gd name="connsiteX13" fmla="*/ 18413 w 22451"/>
              <a:gd name="connsiteY13" fmla="*/ 20879 h 24835"/>
              <a:gd name="connsiteX14" fmla="*/ 19112 w 22451"/>
              <a:gd name="connsiteY14" fmla="*/ 16208 h 24835"/>
              <a:gd name="connsiteX15" fmla="*/ 19752 w 22451"/>
              <a:gd name="connsiteY15" fmla="*/ 7799 h 24835"/>
              <a:gd name="connsiteX16" fmla="*/ 20666 w 22451"/>
              <a:gd name="connsiteY16" fmla="*/ 6650 h 24835"/>
              <a:gd name="connsiteX17" fmla="*/ 22451 w 22451"/>
              <a:gd name="connsiteY17" fmla="*/ 1232 h 24835"/>
              <a:gd name="connsiteX0" fmla="*/ 0 w 22451"/>
              <a:gd name="connsiteY0" fmla="*/ 12338 h 24649"/>
              <a:gd name="connsiteX1" fmla="*/ 847 w 22451"/>
              <a:gd name="connsiteY1" fmla="*/ 15708 h 24649"/>
              <a:gd name="connsiteX2" fmla="*/ 2274 w 22451"/>
              <a:gd name="connsiteY2" fmla="*/ 13314 h 24649"/>
              <a:gd name="connsiteX3" fmla="*/ 3462 w 22451"/>
              <a:gd name="connsiteY3" fmla="*/ 5805 h 24649"/>
              <a:gd name="connsiteX4" fmla="*/ 5575 w 22451"/>
              <a:gd name="connsiteY4" fmla="*/ 179 h 24649"/>
              <a:gd name="connsiteX5" fmla="*/ 6646 w 22451"/>
              <a:gd name="connsiteY5" fmla="*/ 16506 h 24649"/>
              <a:gd name="connsiteX6" fmla="*/ 8810 w 22451"/>
              <a:gd name="connsiteY6" fmla="*/ 1759 h 24649"/>
              <a:gd name="connsiteX7" fmla="*/ 10698 w 22451"/>
              <a:gd name="connsiteY7" fmla="*/ 24595 h 24649"/>
              <a:gd name="connsiteX8" fmla="*/ 12158 w 22451"/>
              <a:gd name="connsiteY8" fmla="*/ 8467 h 24649"/>
              <a:gd name="connsiteX9" fmla="*/ 14085 w 22451"/>
              <a:gd name="connsiteY9" fmla="*/ 20282 h 24649"/>
              <a:gd name="connsiteX10" fmla="*/ 15693 w 22451"/>
              <a:gd name="connsiteY10" fmla="*/ 4468 h 24649"/>
              <a:gd name="connsiteX11" fmla="*/ 16795 w 22451"/>
              <a:gd name="connsiteY11" fmla="*/ 12095 h 24649"/>
              <a:gd name="connsiteX12" fmla="*/ 17385 w 22451"/>
              <a:gd name="connsiteY12" fmla="*/ 18358 h 24649"/>
              <a:gd name="connsiteX13" fmla="*/ 18413 w 22451"/>
              <a:gd name="connsiteY13" fmla="*/ 20693 h 24649"/>
              <a:gd name="connsiteX14" fmla="*/ 19112 w 22451"/>
              <a:gd name="connsiteY14" fmla="*/ 16022 h 24649"/>
              <a:gd name="connsiteX15" fmla="*/ 19752 w 22451"/>
              <a:gd name="connsiteY15" fmla="*/ 7613 h 24649"/>
              <a:gd name="connsiteX16" fmla="*/ 20666 w 22451"/>
              <a:gd name="connsiteY16" fmla="*/ 6464 h 24649"/>
              <a:gd name="connsiteX17" fmla="*/ 22451 w 22451"/>
              <a:gd name="connsiteY17" fmla="*/ 1046 h 24649"/>
              <a:gd name="connsiteX0" fmla="*/ 0 w 22451"/>
              <a:gd name="connsiteY0" fmla="*/ 12338 h 24649"/>
              <a:gd name="connsiteX1" fmla="*/ 847 w 22451"/>
              <a:gd name="connsiteY1" fmla="*/ 15708 h 24649"/>
              <a:gd name="connsiteX2" fmla="*/ 2274 w 22451"/>
              <a:gd name="connsiteY2" fmla="*/ 13314 h 24649"/>
              <a:gd name="connsiteX3" fmla="*/ 3462 w 22451"/>
              <a:gd name="connsiteY3" fmla="*/ 5805 h 24649"/>
              <a:gd name="connsiteX4" fmla="*/ 5575 w 22451"/>
              <a:gd name="connsiteY4" fmla="*/ 179 h 24649"/>
              <a:gd name="connsiteX5" fmla="*/ 6646 w 22451"/>
              <a:gd name="connsiteY5" fmla="*/ 16506 h 24649"/>
              <a:gd name="connsiteX6" fmla="*/ 8810 w 22451"/>
              <a:gd name="connsiteY6" fmla="*/ 1759 h 24649"/>
              <a:gd name="connsiteX7" fmla="*/ 10698 w 22451"/>
              <a:gd name="connsiteY7" fmla="*/ 24595 h 24649"/>
              <a:gd name="connsiteX8" fmla="*/ 12158 w 22451"/>
              <a:gd name="connsiteY8" fmla="*/ 8467 h 24649"/>
              <a:gd name="connsiteX9" fmla="*/ 14085 w 22451"/>
              <a:gd name="connsiteY9" fmla="*/ 20282 h 24649"/>
              <a:gd name="connsiteX10" fmla="*/ 15693 w 22451"/>
              <a:gd name="connsiteY10" fmla="*/ 4468 h 24649"/>
              <a:gd name="connsiteX11" fmla="*/ 16795 w 22451"/>
              <a:gd name="connsiteY11" fmla="*/ 12095 h 24649"/>
              <a:gd name="connsiteX12" fmla="*/ 17385 w 22451"/>
              <a:gd name="connsiteY12" fmla="*/ 18358 h 24649"/>
              <a:gd name="connsiteX13" fmla="*/ 18413 w 22451"/>
              <a:gd name="connsiteY13" fmla="*/ 20693 h 24649"/>
              <a:gd name="connsiteX14" fmla="*/ 19112 w 22451"/>
              <a:gd name="connsiteY14" fmla="*/ 16022 h 24649"/>
              <a:gd name="connsiteX15" fmla="*/ 19752 w 22451"/>
              <a:gd name="connsiteY15" fmla="*/ 7613 h 24649"/>
              <a:gd name="connsiteX16" fmla="*/ 20666 w 22451"/>
              <a:gd name="connsiteY16" fmla="*/ 6464 h 24649"/>
              <a:gd name="connsiteX17" fmla="*/ 22451 w 22451"/>
              <a:gd name="connsiteY17" fmla="*/ 1046 h 24649"/>
              <a:gd name="connsiteX0" fmla="*/ 0 w 22451"/>
              <a:gd name="connsiteY0" fmla="*/ 12338 h 24649"/>
              <a:gd name="connsiteX1" fmla="*/ 847 w 22451"/>
              <a:gd name="connsiteY1" fmla="*/ 15708 h 24649"/>
              <a:gd name="connsiteX2" fmla="*/ 2274 w 22451"/>
              <a:gd name="connsiteY2" fmla="*/ 13314 h 24649"/>
              <a:gd name="connsiteX3" fmla="*/ 3462 w 22451"/>
              <a:gd name="connsiteY3" fmla="*/ 5805 h 24649"/>
              <a:gd name="connsiteX4" fmla="*/ 5575 w 22451"/>
              <a:gd name="connsiteY4" fmla="*/ 179 h 24649"/>
              <a:gd name="connsiteX5" fmla="*/ 6646 w 22451"/>
              <a:gd name="connsiteY5" fmla="*/ 16506 h 24649"/>
              <a:gd name="connsiteX6" fmla="*/ 8810 w 22451"/>
              <a:gd name="connsiteY6" fmla="*/ 1759 h 24649"/>
              <a:gd name="connsiteX7" fmla="*/ 10698 w 22451"/>
              <a:gd name="connsiteY7" fmla="*/ 24595 h 24649"/>
              <a:gd name="connsiteX8" fmla="*/ 12158 w 22451"/>
              <a:gd name="connsiteY8" fmla="*/ 8467 h 24649"/>
              <a:gd name="connsiteX9" fmla="*/ 14085 w 22451"/>
              <a:gd name="connsiteY9" fmla="*/ 20282 h 24649"/>
              <a:gd name="connsiteX10" fmla="*/ 15693 w 22451"/>
              <a:gd name="connsiteY10" fmla="*/ 4468 h 24649"/>
              <a:gd name="connsiteX11" fmla="*/ 16795 w 22451"/>
              <a:gd name="connsiteY11" fmla="*/ 12095 h 24649"/>
              <a:gd name="connsiteX12" fmla="*/ 17385 w 22451"/>
              <a:gd name="connsiteY12" fmla="*/ 18358 h 24649"/>
              <a:gd name="connsiteX13" fmla="*/ 18413 w 22451"/>
              <a:gd name="connsiteY13" fmla="*/ 20693 h 24649"/>
              <a:gd name="connsiteX14" fmla="*/ 19112 w 22451"/>
              <a:gd name="connsiteY14" fmla="*/ 16022 h 24649"/>
              <a:gd name="connsiteX15" fmla="*/ 19752 w 22451"/>
              <a:gd name="connsiteY15" fmla="*/ 7613 h 24649"/>
              <a:gd name="connsiteX16" fmla="*/ 20666 w 22451"/>
              <a:gd name="connsiteY16" fmla="*/ 6464 h 24649"/>
              <a:gd name="connsiteX17" fmla="*/ 22451 w 22451"/>
              <a:gd name="connsiteY17" fmla="*/ 1046 h 24649"/>
              <a:gd name="connsiteX0" fmla="*/ 0 w 22451"/>
              <a:gd name="connsiteY0" fmla="*/ 12275 h 24586"/>
              <a:gd name="connsiteX1" fmla="*/ 847 w 22451"/>
              <a:gd name="connsiteY1" fmla="*/ 15645 h 24586"/>
              <a:gd name="connsiteX2" fmla="*/ 2274 w 22451"/>
              <a:gd name="connsiteY2" fmla="*/ 13251 h 24586"/>
              <a:gd name="connsiteX3" fmla="*/ 3462 w 22451"/>
              <a:gd name="connsiteY3" fmla="*/ 5742 h 24586"/>
              <a:gd name="connsiteX4" fmla="*/ 5575 w 22451"/>
              <a:gd name="connsiteY4" fmla="*/ 116 h 24586"/>
              <a:gd name="connsiteX5" fmla="*/ 6646 w 22451"/>
              <a:gd name="connsiteY5" fmla="*/ 16443 h 24586"/>
              <a:gd name="connsiteX6" fmla="*/ 8810 w 22451"/>
              <a:gd name="connsiteY6" fmla="*/ 1696 h 24586"/>
              <a:gd name="connsiteX7" fmla="*/ 10698 w 22451"/>
              <a:gd name="connsiteY7" fmla="*/ 24532 h 24586"/>
              <a:gd name="connsiteX8" fmla="*/ 12158 w 22451"/>
              <a:gd name="connsiteY8" fmla="*/ 8404 h 24586"/>
              <a:gd name="connsiteX9" fmla="*/ 14085 w 22451"/>
              <a:gd name="connsiteY9" fmla="*/ 20219 h 24586"/>
              <a:gd name="connsiteX10" fmla="*/ 15693 w 22451"/>
              <a:gd name="connsiteY10" fmla="*/ 4405 h 24586"/>
              <a:gd name="connsiteX11" fmla="*/ 16795 w 22451"/>
              <a:gd name="connsiteY11" fmla="*/ 12032 h 24586"/>
              <a:gd name="connsiteX12" fmla="*/ 17385 w 22451"/>
              <a:gd name="connsiteY12" fmla="*/ 18295 h 24586"/>
              <a:gd name="connsiteX13" fmla="*/ 18413 w 22451"/>
              <a:gd name="connsiteY13" fmla="*/ 20630 h 24586"/>
              <a:gd name="connsiteX14" fmla="*/ 19112 w 22451"/>
              <a:gd name="connsiteY14" fmla="*/ 15959 h 24586"/>
              <a:gd name="connsiteX15" fmla="*/ 19752 w 22451"/>
              <a:gd name="connsiteY15" fmla="*/ 7550 h 24586"/>
              <a:gd name="connsiteX16" fmla="*/ 20666 w 22451"/>
              <a:gd name="connsiteY16" fmla="*/ 6401 h 24586"/>
              <a:gd name="connsiteX17" fmla="*/ 22451 w 22451"/>
              <a:gd name="connsiteY17" fmla="*/ 983 h 24586"/>
              <a:gd name="connsiteX0" fmla="*/ 0 w 22451"/>
              <a:gd name="connsiteY0" fmla="*/ 12275 h 24586"/>
              <a:gd name="connsiteX1" fmla="*/ 847 w 22451"/>
              <a:gd name="connsiteY1" fmla="*/ 15645 h 24586"/>
              <a:gd name="connsiteX2" fmla="*/ 2274 w 22451"/>
              <a:gd name="connsiteY2" fmla="*/ 13251 h 24586"/>
              <a:gd name="connsiteX3" fmla="*/ 3462 w 22451"/>
              <a:gd name="connsiteY3" fmla="*/ 5742 h 24586"/>
              <a:gd name="connsiteX4" fmla="*/ 5575 w 22451"/>
              <a:gd name="connsiteY4" fmla="*/ 116 h 24586"/>
              <a:gd name="connsiteX5" fmla="*/ 6646 w 22451"/>
              <a:gd name="connsiteY5" fmla="*/ 16443 h 24586"/>
              <a:gd name="connsiteX6" fmla="*/ 8810 w 22451"/>
              <a:gd name="connsiteY6" fmla="*/ 1696 h 24586"/>
              <a:gd name="connsiteX7" fmla="*/ 10698 w 22451"/>
              <a:gd name="connsiteY7" fmla="*/ 24532 h 24586"/>
              <a:gd name="connsiteX8" fmla="*/ 12158 w 22451"/>
              <a:gd name="connsiteY8" fmla="*/ 8404 h 24586"/>
              <a:gd name="connsiteX9" fmla="*/ 14085 w 22451"/>
              <a:gd name="connsiteY9" fmla="*/ 20219 h 24586"/>
              <a:gd name="connsiteX10" fmla="*/ 15693 w 22451"/>
              <a:gd name="connsiteY10" fmla="*/ 4405 h 24586"/>
              <a:gd name="connsiteX11" fmla="*/ 16795 w 22451"/>
              <a:gd name="connsiteY11" fmla="*/ 12032 h 24586"/>
              <a:gd name="connsiteX12" fmla="*/ 17385 w 22451"/>
              <a:gd name="connsiteY12" fmla="*/ 18295 h 24586"/>
              <a:gd name="connsiteX13" fmla="*/ 18413 w 22451"/>
              <a:gd name="connsiteY13" fmla="*/ 20630 h 24586"/>
              <a:gd name="connsiteX14" fmla="*/ 19112 w 22451"/>
              <a:gd name="connsiteY14" fmla="*/ 15959 h 24586"/>
              <a:gd name="connsiteX15" fmla="*/ 19752 w 22451"/>
              <a:gd name="connsiteY15" fmla="*/ 7550 h 24586"/>
              <a:gd name="connsiteX16" fmla="*/ 21274 w 22451"/>
              <a:gd name="connsiteY16" fmla="*/ 17525 h 24586"/>
              <a:gd name="connsiteX17" fmla="*/ 22451 w 22451"/>
              <a:gd name="connsiteY17" fmla="*/ 983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385 w 22667"/>
              <a:gd name="connsiteY12" fmla="*/ 18295 h 24586"/>
              <a:gd name="connsiteX13" fmla="*/ 18413 w 22667"/>
              <a:gd name="connsiteY13" fmla="*/ 20630 h 24586"/>
              <a:gd name="connsiteX14" fmla="*/ 19112 w 22667"/>
              <a:gd name="connsiteY14" fmla="*/ 15959 h 24586"/>
              <a:gd name="connsiteX15" fmla="*/ 19752 w 22667"/>
              <a:gd name="connsiteY15" fmla="*/ 7550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385 w 22667"/>
              <a:gd name="connsiteY12" fmla="*/ 18295 h 24586"/>
              <a:gd name="connsiteX13" fmla="*/ 18413 w 22667"/>
              <a:gd name="connsiteY13" fmla="*/ 20630 h 24586"/>
              <a:gd name="connsiteX14" fmla="*/ 19112 w 22667"/>
              <a:gd name="connsiteY14" fmla="*/ 15959 h 24586"/>
              <a:gd name="connsiteX15" fmla="*/ 19752 w 22667"/>
              <a:gd name="connsiteY15" fmla="*/ 7550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385 w 22667"/>
              <a:gd name="connsiteY12" fmla="*/ 18295 h 24586"/>
              <a:gd name="connsiteX13" fmla="*/ 18413 w 22667"/>
              <a:gd name="connsiteY13" fmla="*/ 20630 h 24586"/>
              <a:gd name="connsiteX14" fmla="*/ 19112 w 22667"/>
              <a:gd name="connsiteY14" fmla="*/ 15959 h 24586"/>
              <a:gd name="connsiteX15" fmla="*/ 19752 w 22667"/>
              <a:gd name="connsiteY15" fmla="*/ 7550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385 w 22667"/>
              <a:gd name="connsiteY12" fmla="*/ 18295 h 24586"/>
              <a:gd name="connsiteX13" fmla="*/ 18413 w 22667"/>
              <a:gd name="connsiteY13" fmla="*/ 20630 h 24586"/>
              <a:gd name="connsiteX14" fmla="*/ 19112 w 22667"/>
              <a:gd name="connsiteY14" fmla="*/ 15959 h 24586"/>
              <a:gd name="connsiteX15" fmla="*/ 19752 w 22667"/>
              <a:gd name="connsiteY15" fmla="*/ 7550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385 w 22667"/>
              <a:gd name="connsiteY12" fmla="*/ 18295 h 24586"/>
              <a:gd name="connsiteX13" fmla="*/ 18413 w 22667"/>
              <a:gd name="connsiteY13" fmla="*/ 20630 h 24586"/>
              <a:gd name="connsiteX14" fmla="*/ 19112 w 22667"/>
              <a:gd name="connsiteY14" fmla="*/ 19667 h 24586"/>
              <a:gd name="connsiteX15" fmla="*/ 19752 w 22667"/>
              <a:gd name="connsiteY15" fmla="*/ 7550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385 w 22667"/>
              <a:gd name="connsiteY12" fmla="*/ 18295 h 24586"/>
              <a:gd name="connsiteX13" fmla="*/ 18413 w 22667"/>
              <a:gd name="connsiteY13" fmla="*/ 20630 h 24586"/>
              <a:gd name="connsiteX14" fmla="*/ 19112 w 22667"/>
              <a:gd name="connsiteY14" fmla="*/ 19667 h 24586"/>
              <a:gd name="connsiteX15" fmla="*/ 19752 w 22667"/>
              <a:gd name="connsiteY15" fmla="*/ 7550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385 w 22667"/>
              <a:gd name="connsiteY12" fmla="*/ 18295 h 24586"/>
              <a:gd name="connsiteX13" fmla="*/ 18413 w 22667"/>
              <a:gd name="connsiteY13" fmla="*/ 20630 h 24586"/>
              <a:gd name="connsiteX14" fmla="*/ 19112 w 22667"/>
              <a:gd name="connsiteY14" fmla="*/ 19667 h 24586"/>
              <a:gd name="connsiteX15" fmla="*/ 20066 w 22667"/>
              <a:gd name="connsiteY15" fmla="*/ 5325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385 w 22667"/>
              <a:gd name="connsiteY12" fmla="*/ 18295 h 24586"/>
              <a:gd name="connsiteX13" fmla="*/ 18413 w 22667"/>
              <a:gd name="connsiteY13" fmla="*/ 20630 h 24586"/>
              <a:gd name="connsiteX14" fmla="*/ 19112 w 22667"/>
              <a:gd name="connsiteY14" fmla="*/ 19667 h 24586"/>
              <a:gd name="connsiteX15" fmla="*/ 20066 w 22667"/>
              <a:gd name="connsiteY15" fmla="*/ 5325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267 w 22667"/>
              <a:gd name="connsiteY12" fmla="*/ 23857 h 24586"/>
              <a:gd name="connsiteX13" fmla="*/ 18413 w 22667"/>
              <a:gd name="connsiteY13" fmla="*/ 20630 h 24586"/>
              <a:gd name="connsiteX14" fmla="*/ 19112 w 22667"/>
              <a:gd name="connsiteY14" fmla="*/ 19667 h 24586"/>
              <a:gd name="connsiteX15" fmla="*/ 20066 w 22667"/>
              <a:gd name="connsiteY15" fmla="*/ 5325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267 w 22667"/>
              <a:gd name="connsiteY12" fmla="*/ 23857 h 24586"/>
              <a:gd name="connsiteX13" fmla="*/ 18354 w 22667"/>
              <a:gd name="connsiteY13" fmla="*/ 16180 h 24586"/>
              <a:gd name="connsiteX14" fmla="*/ 19112 w 22667"/>
              <a:gd name="connsiteY14" fmla="*/ 19667 h 24586"/>
              <a:gd name="connsiteX15" fmla="*/ 20066 w 22667"/>
              <a:gd name="connsiteY15" fmla="*/ 5325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267 w 22667"/>
              <a:gd name="connsiteY12" fmla="*/ 23857 h 24586"/>
              <a:gd name="connsiteX13" fmla="*/ 18354 w 22667"/>
              <a:gd name="connsiteY13" fmla="*/ 16180 h 24586"/>
              <a:gd name="connsiteX14" fmla="*/ 19112 w 22667"/>
              <a:gd name="connsiteY14" fmla="*/ 19667 h 24586"/>
              <a:gd name="connsiteX15" fmla="*/ 20066 w 22667"/>
              <a:gd name="connsiteY15" fmla="*/ 5325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  <a:gd name="connsiteX0" fmla="*/ 0 w 22667"/>
              <a:gd name="connsiteY0" fmla="*/ 12275 h 24586"/>
              <a:gd name="connsiteX1" fmla="*/ 847 w 22667"/>
              <a:gd name="connsiteY1" fmla="*/ 15645 h 24586"/>
              <a:gd name="connsiteX2" fmla="*/ 2274 w 22667"/>
              <a:gd name="connsiteY2" fmla="*/ 13251 h 24586"/>
              <a:gd name="connsiteX3" fmla="*/ 3462 w 22667"/>
              <a:gd name="connsiteY3" fmla="*/ 5742 h 24586"/>
              <a:gd name="connsiteX4" fmla="*/ 5575 w 22667"/>
              <a:gd name="connsiteY4" fmla="*/ 116 h 24586"/>
              <a:gd name="connsiteX5" fmla="*/ 6646 w 22667"/>
              <a:gd name="connsiteY5" fmla="*/ 16443 h 24586"/>
              <a:gd name="connsiteX6" fmla="*/ 8810 w 22667"/>
              <a:gd name="connsiteY6" fmla="*/ 1696 h 24586"/>
              <a:gd name="connsiteX7" fmla="*/ 10698 w 22667"/>
              <a:gd name="connsiteY7" fmla="*/ 24532 h 24586"/>
              <a:gd name="connsiteX8" fmla="*/ 12158 w 22667"/>
              <a:gd name="connsiteY8" fmla="*/ 8404 h 24586"/>
              <a:gd name="connsiteX9" fmla="*/ 14085 w 22667"/>
              <a:gd name="connsiteY9" fmla="*/ 20219 h 24586"/>
              <a:gd name="connsiteX10" fmla="*/ 15693 w 22667"/>
              <a:gd name="connsiteY10" fmla="*/ 4405 h 24586"/>
              <a:gd name="connsiteX11" fmla="*/ 16795 w 22667"/>
              <a:gd name="connsiteY11" fmla="*/ 12032 h 24586"/>
              <a:gd name="connsiteX12" fmla="*/ 17267 w 22667"/>
              <a:gd name="connsiteY12" fmla="*/ 23857 h 24586"/>
              <a:gd name="connsiteX13" fmla="*/ 18354 w 22667"/>
              <a:gd name="connsiteY13" fmla="*/ 16180 h 24586"/>
              <a:gd name="connsiteX14" fmla="*/ 19112 w 22667"/>
              <a:gd name="connsiteY14" fmla="*/ 19667 h 24586"/>
              <a:gd name="connsiteX15" fmla="*/ 20066 w 22667"/>
              <a:gd name="connsiteY15" fmla="*/ 5325 h 24586"/>
              <a:gd name="connsiteX16" fmla="*/ 21274 w 22667"/>
              <a:gd name="connsiteY16" fmla="*/ 17525 h 24586"/>
              <a:gd name="connsiteX17" fmla="*/ 22667 w 22667"/>
              <a:gd name="connsiteY17" fmla="*/ 8399 h 24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667" h="24586" extrusionOk="0">
                <a:moveTo>
                  <a:pt x="0" y="12275"/>
                </a:moveTo>
                <a:cubicBezTo>
                  <a:pt x="288" y="12926"/>
                  <a:pt x="468" y="15482"/>
                  <a:pt x="847" y="15645"/>
                </a:cubicBezTo>
                <a:cubicBezTo>
                  <a:pt x="1226" y="15808"/>
                  <a:pt x="1760" y="8968"/>
                  <a:pt x="2274" y="13251"/>
                </a:cubicBezTo>
                <a:cubicBezTo>
                  <a:pt x="2788" y="17534"/>
                  <a:pt x="3343" y="3489"/>
                  <a:pt x="3462" y="5742"/>
                </a:cubicBezTo>
                <a:cubicBezTo>
                  <a:pt x="4110" y="18014"/>
                  <a:pt x="5044" y="-1667"/>
                  <a:pt x="5575" y="116"/>
                </a:cubicBezTo>
                <a:cubicBezTo>
                  <a:pt x="6106" y="1899"/>
                  <a:pt x="6107" y="16180"/>
                  <a:pt x="6646" y="16443"/>
                </a:cubicBezTo>
                <a:cubicBezTo>
                  <a:pt x="7185" y="16706"/>
                  <a:pt x="7615" y="-3051"/>
                  <a:pt x="8810" y="1696"/>
                </a:cubicBezTo>
                <a:cubicBezTo>
                  <a:pt x="9456" y="14972"/>
                  <a:pt x="10140" y="23414"/>
                  <a:pt x="10698" y="24532"/>
                </a:cubicBezTo>
                <a:cubicBezTo>
                  <a:pt x="11256" y="25650"/>
                  <a:pt x="11594" y="9123"/>
                  <a:pt x="12158" y="8404"/>
                </a:cubicBezTo>
                <a:cubicBezTo>
                  <a:pt x="12722" y="7685"/>
                  <a:pt x="13496" y="20886"/>
                  <a:pt x="14085" y="20219"/>
                </a:cubicBezTo>
                <a:cubicBezTo>
                  <a:pt x="14674" y="19552"/>
                  <a:pt x="15241" y="5769"/>
                  <a:pt x="15693" y="4405"/>
                </a:cubicBezTo>
                <a:cubicBezTo>
                  <a:pt x="16145" y="3041"/>
                  <a:pt x="16455" y="3599"/>
                  <a:pt x="16795" y="12032"/>
                </a:cubicBezTo>
                <a:cubicBezTo>
                  <a:pt x="17135" y="20465"/>
                  <a:pt x="16850" y="23166"/>
                  <a:pt x="17267" y="23857"/>
                </a:cubicBezTo>
                <a:cubicBezTo>
                  <a:pt x="17684" y="24548"/>
                  <a:pt x="18047" y="16878"/>
                  <a:pt x="18354" y="16180"/>
                </a:cubicBezTo>
                <a:cubicBezTo>
                  <a:pt x="18662" y="15482"/>
                  <a:pt x="18882" y="22703"/>
                  <a:pt x="19112" y="19667"/>
                </a:cubicBezTo>
                <a:cubicBezTo>
                  <a:pt x="19555" y="16865"/>
                  <a:pt x="19333" y="8648"/>
                  <a:pt x="20066" y="5325"/>
                </a:cubicBezTo>
                <a:cubicBezTo>
                  <a:pt x="20799" y="2002"/>
                  <a:pt x="20821" y="15310"/>
                  <a:pt x="21274" y="17525"/>
                </a:cubicBezTo>
                <a:cubicBezTo>
                  <a:pt x="22073" y="23505"/>
                  <a:pt x="21946" y="15351"/>
                  <a:pt x="22667" y="8399"/>
                </a:cubicBezTo>
              </a:path>
            </a:pathLst>
          </a:custGeom>
          <a:ln w="47625" cap="rnd" cmpd="dbl">
            <a:solidFill>
              <a:srgbClr val="FFFFFF"/>
            </a:solidFill>
            <a:prstDash val="sysDot"/>
            <a:miter lim="400000"/>
            <a:headEnd type="oval"/>
            <a:tailEnd type="oval"/>
          </a:ln>
        </p:spPr>
        <p:txBody>
          <a:bodyPr lIns="3834" tIns="3834" rIns="3834" bIns="3834" anchor="ctr"/>
          <a:lstStyle/>
          <a:p>
            <a:pPr marL="0" marR="0" lvl="0" indent="0" algn="l" defTabSz="304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latin typeface="Helvetica"/>
                <a:ea typeface="Helvetica"/>
                <a:cs typeface="Helvetica"/>
                <a:sym typeface="Helvetica"/>
              </a:defRPr>
            </a:pPr>
            <a:endParaRPr kumimoji="0" sz="600" b="0" i="0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E89C506-E979-4ED2-A01C-5FE48C34D85E}"/>
              </a:ext>
            </a:extLst>
          </p:cNvPr>
          <p:cNvGrpSpPr/>
          <p:nvPr/>
        </p:nvGrpSpPr>
        <p:grpSpPr>
          <a:xfrm>
            <a:off x="3425903" y="5377522"/>
            <a:ext cx="780115" cy="626099"/>
            <a:chOff x="2932642" y="1401901"/>
            <a:chExt cx="788937" cy="626099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A5D84DA-4093-4ABE-B754-FBB24CE899A6}"/>
                </a:ext>
              </a:extLst>
            </p:cNvPr>
            <p:cNvSpPr txBox="1"/>
            <p:nvPr/>
          </p:nvSpPr>
          <p:spPr>
            <a:xfrm>
              <a:off x="2932642" y="1812556"/>
              <a:ext cx="788937" cy="21544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Jira 101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2F7FAD4-FCFF-4573-BA8F-998DFCDDCB0B}"/>
                </a:ext>
              </a:extLst>
            </p:cNvPr>
            <p:cNvGrpSpPr/>
            <p:nvPr/>
          </p:nvGrpSpPr>
          <p:grpSpPr>
            <a:xfrm>
              <a:off x="3120716" y="1401901"/>
              <a:ext cx="447093" cy="425446"/>
              <a:chOff x="860829" y="864081"/>
              <a:chExt cx="447093" cy="425446"/>
            </a:xfrm>
          </p:grpSpPr>
          <p:sp>
            <p:nvSpPr>
              <p:cNvPr id="83" name="Freeform 6">
                <a:extLst>
                  <a:ext uri="{FF2B5EF4-FFF2-40B4-BE49-F238E27FC236}">
                    <a16:creationId xmlns:a16="http://schemas.microsoft.com/office/drawing/2014/main" id="{8A0222C6-0BBF-4842-89C6-C9DDD67536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0829" y="864081"/>
                <a:ext cx="447093" cy="425446"/>
              </a:xfrm>
              <a:custGeom>
                <a:avLst/>
                <a:gdLst>
                  <a:gd name="T0" fmla="*/ 45 w 89"/>
                  <a:gd name="T1" fmla="*/ 0 h 89"/>
                  <a:gd name="T2" fmla="*/ 0 w 89"/>
                  <a:gd name="T3" fmla="*/ 45 h 89"/>
                  <a:gd name="T4" fmla="*/ 45 w 89"/>
                  <a:gd name="T5" fmla="*/ 89 h 89"/>
                  <a:gd name="T6" fmla="*/ 89 w 89"/>
                  <a:gd name="T7" fmla="*/ 45 h 89"/>
                  <a:gd name="T8" fmla="*/ 45 w 89"/>
                  <a:gd name="T9" fmla="*/ 0 h 89"/>
                  <a:gd name="T10" fmla="*/ 45 w 89"/>
                  <a:gd name="T11" fmla="*/ 85 h 89"/>
                  <a:gd name="T12" fmla="*/ 5 w 89"/>
                  <a:gd name="T13" fmla="*/ 45 h 89"/>
                  <a:gd name="T14" fmla="*/ 45 w 89"/>
                  <a:gd name="T15" fmla="*/ 5 h 89"/>
                  <a:gd name="T16" fmla="*/ 85 w 89"/>
                  <a:gd name="T17" fmla="*/ 45 h 89"/>
                  <a:gd name="T18" fmla="*/ 45 w 89"/>
                  <a:gd name="T19" fmla="*/ 85 h 89"/>
                  <a:gd name="T20" fmla="*/ 45 w 89"/>
                  <a:gd name="T21" fmla="*/ 85 h 89"/>
                  <a:gd name="T22" fmla="*/ 45 w 89"/>
                  <a:gd name="T23" fmla="*/ 8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89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  <a:cubicBezTo>
                      <a:pt x="0" y="69"/>
                      <a:pt x="20" y="89"/>
                      <a:pt x="45" y="89"/>
                    </a:cubicBezTo>
                    <a:cubicBezTo>
                      <a:pt x="69" y="89"/>
                      <a:pt x="89" y="69"/>
                      <a:pt x="89" y="45"/>
                    </a:cubicBezTo>
                    <a:cubicBezTo>
                      <a:pt x="89" y="20"/>
                      <a:pt x="69" y="0"/>
                      <a:pt x="45" y="0"/>
                    </a:cubicBezTo>
                    <a:close/>
                    <a:moveTo>
                      <a:pt x="45" y="85"/>
                    </a:moveTo>
                    <a:cubicBezTo>
                      <a:pt x="23" y="85"/>
                      <a:pt x="5" y="67"/>
                      <a:pt x="5" y="45"/>
                    </a:cubicBezTo>
                    <a:cubicBezTo>
                      <a:pt x="5" y="23"/>
                      <a:pt x="23" y="5"/>
                      <a:pt x="45" y="5"/>
                    </a:cubicBezTo>
                    <a:cubicBezTo>
                      <a:pt x="67" y="5"/>
                      <a:pt x="85" y="23"/>
                      <a:pt x="85" y="45"/>
                    </a:cubicBezTo>
                    <a:cubicBezTo>
                      <a:pt x="85" y="67"/>
                      <a:pt x="67" y="85"/>
                      <a:pt x="45" y="85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26985" tIns="13493" rIns="26985" bIns="134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pic>
            <p:nvPicPr>
              <p:cNvPr id="56" name="Content Placeholder 6">
                <a:hlinkClick r:id="rId5"/>
                <a:extLst>
                  <a:ext uri="{FF2B5EF4-FFF2-40B4-BE49-F238E27FC236}">
                    <a16:creationId xmlns:a16="http://schemas.microsoft.com/office/drawing/2014/main" id="{E5B570AF-D758-4BB9-BDC3-E3AB485FF2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82088" y="925666"/>
                <a:ext cx="204574" cy="271628"/>
              </a:xfrm>
              <a:prstGeom prst="rect">
                <a:avLst/>
              </a:prstGeom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94DD269-C7D6-4DB1-877F-6C9D70ACC5A6}"/>
              </a:ext>
            </a:extLst>
          </p:cNvPr>
          <p:cNvGrpSpPr/>
          <p:nvPr/>
        </p:nvGrpSpPr>
        <p:grpSpPr>
          <a:xfrm>
            <a:off x="1910151" y="5313357"/>
            <a:ext cx="1264476" cy="609972"/>
            <a:chOff x="1505742" y="1182300"/>
            <a:chExt cx="1278776" cy="60997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8F6B984-0A80-4F96-BCF2-3583625ADC4F}"/>
                </a:ext>
              </a:extLst>
            </p:cNvPr>
            <p:cNvSpPr txBox="1"/>
            <p:nvPr/>
          </p:nvSpPr>
          <p:spPr>
            <a:xfrm>
              <a:off x="1505742" y="1576828"/>
              <a:ext cx="1278776" cy="21544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Scrum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83FAA6A-F23C-4E3E-A996-8BC7A394A30D}"/>
                </a:ext>
              </a:extLst>
            </p:cNvPr>
            <p:cNvGrpSpPr/>
            <p:nvPr/>
          </p:nvGrpSpPr>
          <p:grpSpPr>
            <a:xfrm>
              <a:off x="1924554" y="1182300"/>
              <a:ext cx="447093" cy="425446"/>
              <a:chOff x="2200457" y="710653"/>
              <a:chExt cx="447093" cy="425446"/>
            </a:xfrm>
          </p:grpSpPr>
          <p:sp>
            <p:nvSpPr>
              <p:cNvPr id="84" name="Freeform 6">
                <a:extLst>
                  <a:ext uri="{FF2B5EF4-FFF2-40B4-BE49-F238E27FC236}">
                    <a16:creationId xmlns:a16="http://schemas.microsoft.com/office/drawing/2014/main" id="{6C96E289-28B0-489C-B418-1E8CA6C34C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00457" y="710653"/>
                <a:ext cx="447093" cy="425446"/>
              </a:xfrm>
              <a:custGeom>
                <a:avLst/>
                <a:gdLst>
                  <a:gd name="T0" fmla="*/ 45 w 89"/>
                  <a:gd name="T1" fmla="*/ 0 h 89"/>
                  <a:gd name="T2" fmla="*/ 0 w 89"/>
                  <a:gd name="T3" fmla="*/ 45 h 89"/>
                  <a:gd name="T4" fmla="*/ 45 w 89"/>
                  <a:gd name="T5" fmla="*/ 89 h 89"/>
                  <a:gd name="T6" fmla="*/ 89 w 89"/>
                  <a:gd name="T7" fmla="*/ 45 h 89"/>
                  <a:gd name="T8" fmla="*/ 45 w 89"/>
                  <a:gd name="T9" fmla="*/ 0 h 89"/>
                  <a:gd name="T10" fmla="*/ 45 w 89"/>
                  <a:gd name="T11" fmla="*/ 85 h 89"/>
                  <a:gd name="T12" fmla="*/ 5 w 89"/>
                  <a:gd name="T13" fmla="*/ 45 h 89"/>
                  <a:gd name="T14" fmla="*/ 45 w 89"/>
                  <a:gd name="T15" fmla="*/ 5 h 89"/>
                  <a:gd name="T16" fmla="*/ 85 w 89"/>
                  <a:gd name="T17" fmla="*/ 45 h 89"/>
                  <a:gd name="T18" fmla="*/ 45 w 89"/>
                  <a:gd name="T19" fmla="*/ 85 h 89"/>
                  <a:gd name="T20" fmla="*/ 45 w 89"/>
                  <a:gd name="T21" fmla="*/ 85 h 89"/>
                  <a:gd name="T22" fmla="*/ 45 w 89"/>
                  <a:gd name="T23" fmla="*/ 8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89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  <a:cubicBezTo>
                      <a:pt x="0" y="69"/>
                      <a:pt x="20" y="89"/>
                      <a:pt x="45" y="89"/>
                    </a:cubicBezTo>
                    <a:cubicBezTo>
                      <a:pt x="69" y="89"/>
                      <a:pt x="89" y="69"/>
                      <a:pt x="89" y="45"/>
                    </a:cubicBezTo>
                    <a:cubicBezTo>
                      <a:pt x="89" y="20"/>
                      <a:pt x="69" y="0"/>
                      <a:pt x="45" y="0"/>
                    </a:cubicBezTo>
                    <a:close/>
                    <a:moveTo>
                      <a:pt x="45" y="85"/>
                    </a:moveTo>
                    <a:cubicBezTo>
                      <a:pt x="23" y="85"/>
                      <a:pt x="5" y="67"/>
                      <a:pt x="5" y="45"/>
                    </a:cubicBezTo>
                    <a:cubicBezTo>
                      <a:pt x="5" y="23"/>
                      <a:pt x="23" y="5"/>
                      <a:pt x="45" y="5"/>
                    </a:cubicBezTo>
                    <a:cubicBezTo>
                      <a:pt x="67" y="5"/>
                      <a:pt x="85" y="23"/>
                      <a:pt x="85" y="45"/>
                    </a:cubicBezTo>
                    <a:cubicBezTo>
                      <a:pt x="85" y="67"/>
                      <a:pt x="67" y="85"/>
                      <a:pt x="45" y="85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26985" tIns="13493" rIns="26985" bIns="134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pic>
            <p:nvPicPr>
              <p:cNvPr id="57" name="Content Placeholder 8">
                <a:extLst>
                  <a:ext uri="{FF2B5EF4-FFF2-40B4-BE49-F238E27FC236}">
                    <a16:creationId xmlns:a16="http://schemas.microsoft.com/office/drawing/2014/main" id="{13E7058D-5F1C-407E-960A-7B872D00B0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303579" y="807686"/>
                <a:ext cx="257926" cy="237184"/>
              </a:xfrm>
              <a:prstGeom prst="rect">
                <a:avLst/>
              </a:prstGeom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5896329-CC92-446D-A4CA-1545231CF27E}"/>
              </a:ext>
            </a:extLst>
          </p:cNvPr>
          <p:cNvGrpSpPr/>
          <p:nvPr/>
        </p:nvGrpSpPr>
        <p:grpSpPr>
          <a:xfrm>
            <a:off x="2766373" y="6161391"/>
            <a:ext cx="1807848" cy="636817"/>
            <a:chOff x="3901286" y="408425"/>
            <a:chExt cx="1828293" cy="636817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312F060-B3D8-49A1-AC65-9B537831E709}"/>
                </a:ext>
              </a:extLst>
            </p:cNvPr>
            <p:cNvSpPr txBox="1"/>
            <p:nvPr/>
          </p:nvSpPr>
          <p:spPr>
            <a:xfrm>
              <a:off x="3901286" y="829798"/>
              <a:ext cx="1828293" cy="21544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  Intro to Product Operating Model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F715FD3-AB30-4EF4-B054-40EDC053B914}"/>
                </a:ext>
              </a:extLst>
            </p:cNvPr>
            <p:cNvGrpSpPr/>
            <p:nvPr/>
          </p:nvGrpSpPr>
          <p:grpSpPr>
            <a:xfrm>
              <a:off x="4534965" y="408425"/>
              <a:ext cx="447093" cy="425446"/>
              <a:chOff x="4724522" y="759650"/>
              <a:chExt cx="447093" cy="425446"/>
            </a:xfrm>
          </p:grpSpPr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93FDFBA6-CE7C-4A24-83CC-DA5B330A84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4817076" y="845513"/>
                <a:ext cx="269851" cy="269851"/>
              </a:xfrm>
              <a:prstGeom prst="rect">
                <a:avLst/>
              </a:prstGeom>
            </p:spPr>
          </p:pic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id="{8851E438-E67C-484B-A15F-A2A051172F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24522" y="759650"/>
                <a:ext cx="447093" cy="425446"/>
              </a:xfrm>
              <a:custGeom>
                <a:avLst/>
                <a:gdLst>
                  <a:gd name="T0" fmla="*/ 45 w 89"/>
                  <a:gd name="T1" fmla="*/ 0 h 89"/>
                  <a:gd name="T2" fmla="*/ 0 w 89"/>
                  <a:gd name="T3" fmla="*/ 45 h 89"/>
                  <a:gd name="T4" fmla="*/ 45 w 89"/>
                  <a:gd name="T5" fmla="*/ 89 h 89"/>
                  <a:gd name="T6" fmla="*/ 89 w 89"/>
                  <a:gd name="T7" fmla="*/ 45 h 89"/>
                  <a:gd name="T8" fmla="*/ 45 w 89"/>
                  <a:gd name="T9" fmla="*/ 0 h 89"/>
                  <a:gd name="T10" fmla="*/ 45 w 89"/>
                  <a:gd name="T11" fmla="*/ 85 h 89"/>
                  <a:gd name="T12" fmla="*/ 5 w 89"/>
                  <a:gd name="T13" fmla="*/ 45 h 89"/>
                  <a:gd name="T14" fmla="*/ 45 w 89"/>
                  <a:gd name="T15" fmla="*/ 5 h 89"/>
                  <a:gd name="T16" fmla="*/ 85 w 89"/>
                  <a:gd name="T17" fmla="*/ 45 h 89"/>
                  <a:gd name="T18" fmla="*/ 45 w 89"/>
                  <a:gd name="T19" fmla="*/ 85 h 89"/>
                  <a:gd name="T20" fmla="*/ 45 w 89"/>
                  <a:gd name="T21" fmla="*/ 85 h 89"/>
                  <a:gd name="T22" fmla="*/ 45 w 89"/>
                  <a:gd name="T23" fmla="*/ 8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89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  <a:cubicBezTo>
                      <a:pt x="0" y="69"/>
                      <a:pt x="20" y="89"/>
                      <a:pt x="45" y="89"/>
                    </a:cubicBezTo>
                    <a:cubicBezTo>
                      <a:pt x="69" y="89"/>
                      <a:pt x="89" y="69"/>
                      <a:pt x="89" y="45"/>
                    </a:cubicBezTo>
                    <a:cubicBezTo>
                      <a:pt x="89" y="20"/>
                      <a:pt x="69" y="0"/>
                      <a:pt x="45" y="0"/>
                    </a:cubicBezTo>
                    <a:close/>
                    <a:moveTo>
                      <a:pt x="45" y="85"/>
                    </a:moveTo>
                    <a:cubicBezTo>
                      <a:pt x="23" y="85"/>
                      <a:pt x="5" y="67"/>
                      <a:pt x="5" y="45"/>
                    </a:cubicBezTo>
                    <a:cubicBezTo>
                      <a:pt x="5" y="23"/>
                      <a:pt x="23" y="5"/>
                      <a:pt x="45" y="5"/>
                    </a:cubicBezTo>
                    <a:cubicBezTo>
                      <a:pt x="67" y="5"/>
                      <a:pt x="85" y="23"/>
                      <a:pt x="85" y="45"/>
                    </a:cubicBezTo>
                    <a:cubicBezTo>
                      <a:pt x="85" y="67"/>
                      <a:pt x="67" y="85"/>
                      <a:pt x="45" y="85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26985" tIns="13493" rIns="26985" bIns="134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B617290-43FE-4606-A098-B1415FA34F26}"/>
              </a:ext>
            </a:extLst>
          </p:cNvPr>
          <p:cNvGrpSpPr/>
          <p:nvPr/>
        </p:nvGrpSpPr>
        <p:grpSpPr>
          <a:xfrm>
            <a:off x="1123898" y="5345935"/>
            <a:ext cx="959685" cy="631685"/>
            <a:chOff x="317709" y="537861"/>
            <a:chExt cx="970538" cy="631685"/>
          </a:xfrm>
        </p:grpSpPr>
        <p:sp>
          <p:nvSpPr>
            <p:cNvPr id="47" name="TextBox 46">
              <a:hlinkClick r:id="rId10"/>
              <a:extLst>
                <a:ext uri="{FF2B5EF4-FFF2-40B4-BE49-F238E27FC236}">
                  <a16:creationId xmlns:a16="http://schemas.microsoft.com/office/drawing/2014/main" id="{EF8A1500-7C39-4F19-8BF2-1E8949E1147A}"/>
                </a:ext>
              </a:extLst>
            </p:cNvPr>
            <p:cNvSpPr txBox="1"/>
            <p:nvPr/>
          </p:nvSpPr>
          <p:spPr>
            <a:xfrm>
              <a:off x="317709" y="954102"/>
              <a:ext cx="970538" cy="21544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Agile 101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FE627B3-7F77-4C8E-9E44-F32841B58167}"/>
                </a:ext>
              </a:extLst>
            </p:cNvPr>
            <p:cNvGrpSpPr/>
            <p:nvPr/>
          </p:nvGrpSpPr>
          <p:grpSpPr>
            <a:xfrm>
              <a:off x="590724" y="537861"/>
              <a:ext cx="447093" cy="425446"/>
              <a:chOff x="1010614" y="752800"/>
              <a:chExt cx="447093" cy="425446"/>
            </a:xfrm>
          </p:grpSpPr>
          <p:sp>
            <p:nvSpPr>
              <p:cNvPr id="86" name="Freeform 6">
                <a:extLst>
                  <a:ext uri="{FF2B5EF4-FFF2-40B4-BE49-F238E27FC236}">
                    <a16:creationId xmlns:a16="http://schemas.microsoft.com/office/drawing/2014/main" id="{7EEA624C-99D8-48FE-81ED-F607A2FA40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614" y="752800"/>
                <a:ext cx="447093" cy="425446"/>
              </a:xfrm>
              <a:custGeom>
                <a:avLst/>
                <a:gdLst>
                  <a:gd name="T0" fmla="*/ 45 w 89"/>
                  <a:gd name="T1" fmla="*/ 0 h 89"/>
                  <a:gd name="T2" fmla="*/ 0 w 89"/>
                  <a:gd name="T3" fmla="*/ 45 h 89"/>
                  <a:gd name="T4" fmla="*/ 45 w 89"/>
                  <a:gd name="T5" fmla="*/ 89 h 89"/>
                  <a:gd name="T6" fmla="*/ 89 w 89"/>
                  <a:gd name="T7" fmla="*/ 45 h 89"/>
                  <a:gd name="T8" fmla="*/ 45 w 89"/>
                  <a:gd name="T9" fmla="*/ 0 h 89"/>
                  <a:gd name="T10" fmla="*/ 45 w 89"/>
                  <a:gd name="T11" fmla="*/ 85 h 89"/>
                  <a:gd name="T12" fmla="*/ 5 w 89"/>
                  <a:gd name="T13" fmla="*/ 45 h 89"/>
                  <a:gd name="T14" fmla="*/ 45 w 89"/>
                  <a:gd name="T15" fmla="*/ 5 h 89"/>
                  <a:gd name="T16" fmla="*/ 85 w 89"/>
                  <a:gd name="T17" fmla="*/ 45 h 89"/>
                  <a:gd name="T18" fmla="*/ 45 w 89"/>
                  <a:gd name="T19" fmla="*/ 85 h 89"/>
                  <a:gd name="T20" fmla="*/ 45 w 89"/>
                  <a:gd name="T21" fmla="*/ 85 h 89"/>
                  <a:gd name="T22" fmla="*/ 45 w 89"/>
                  <a:gd name="T23" fmla="*/ 8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89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  <a:cubicBezTo>
                      <a:pt x="0" y="69"/>
                      <a:pt x="20" y="89"/>
                      <a:pt x="45" y="89"/>
                    </a:cubicBezTo>
                    <a:cubicBezTo>
                      <a:pt x="69" y="89"/>
                      <a:pt x="89" y="69"/>
                      <a:pt x="89" y="45"/>
                    </a:cubicBezTo>
                    <a:cubicBezTo>
                      <a:pt x="89" y="20"/>
                      <a:pt x="69" y="0"/>
                      <a:pt x="45" y="0"/>
                    </a:cubicBezTo>
                    <a:close/>
                    <a:moveTo>
                      <a:pt x="45" y="85"/>
                    </a:moveTo>
                    <a:cubicBezTo>
                      <a:pt x="23" y="85"/>
                      <a:pt x="5" y="67"/>
                      <a:pt x="5" y="45"/>
                    </a:cubicBezTo>
                    <a:cubicBezTo>
                      <a:pt x="5" y="23"/>
                      <a:pt x="23" y="5"/>
                      <a:pt x="45" y="5"/>
                    </a:cubicBezTo>
                    <a:cubicBezTo>
                      <a:pt x="67" y="5"/>
                      <a:pt x="85" y="23"/>
                      <a:pt x="85" y="45"/>
                    </a:cubicBezTo>
                    <a:cubicBezTo>
                      <a:pt x="85" y="67"/>
                      <a:pt x="67" y="85"/>
                      <a:pt x="45" y="85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26985" tIns="13493" rIns="26985" bIns="134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pic>
            <p:nvPicPr>
              <p:cNvPr id="61" name="Picture 60">
                <a:hlinkClick r:id="rId10"/>
                <a:extLst>
                  <a:ext uri="{FF2B5EF4-FFF2-40B4-BE49-F238E27FC236}">
                    <a16:creationId xmlns:a16="http://schemas.microsoft.com/office/drawing/2014/main" id="{319A6E96-4850-47E2-B942-FFEDD7732E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107127" y="851224"/>
                <a:ext cx="267217" cy="235611"/>
              </a:xfrm>
              <a:prstGeom prst="rect">
                <a:avLst/>
              </a:prstGeom>
            </p:spPr>
          </p:pic>
        </p:grp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A535B213-62FB-4DC5-8402-1F13AE9FECCF}"/>
              </a:ext>
            </a:extLst>
          </p:cNvPr>
          <p:cNvGrpSpPr/>
          <p:nvPr/>
        </p:nvGrpSpPr>
        <p:grpSpPr>
          <a:xfrm>
            <a:off x="5330313" y="5252947"/>
            <a:ext cx="780115" cy="909875"/>
            <a:chOff x="2932439" y="1287859"/>
            <a:chExt cx="788937" cy="909875"/>
          </a:xfrm>
        </p:grpSpPr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BA7152A3-EE20-4937-AA85-6F8DCBE5FFCF}"/>
                </a:ext>
              </a:extLst>
            </p:cNvPr>
            <p:cNvSpPr txBox="1"/>
            <p:nvPr/>
          </p:nvSpPr>
          <p:spPr>
            <a:xfrm>
              <a:off x="2932439" y="1736069"/>
              <a:ext cx="788937" cy="46166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S Teams  Tips &amp; Trick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dirty="0">
                  <a:solidFill>
                    <a:srgbClr val="FFFFFF"/>
                  </a:solidFill>
                  <a:latin typeface="Arial"/>
                  <a:ea typeface="ＭＳ Ｐゴシック"/>
                </a:rPr>
                <a:t>(Optional)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78A72C0F-93F7-4B08-B7D1-D9762E40B1ED}"/>
                </a:ext>
              </a:extLst>
            </p:cNvPr>
            <p:cNvGrpSpPr/>
            <p:nvPr/>
          </p:nvGrpSpPr>
          <p:grpSpPr>
            <a:xfrm>
              <a:off x="3112796" y="1287859"/>
              <a:ext cx="447093" cy="425446"/>
              <a:chOff x="852909" y="750039"/>
              <a:chExt cx="447093" cy="425446"/>
            </a:xfrm>
          </p:grpSpPr>
          <p:sp>
            <p:nvSpPr>
              <p:cNvPr id="128" name="Freeform 6">
                <a:extLst>
                  <a:ext uri="{FF2B5EF4-FFF2-40B4-BE49-F238E27FC236}">
                    <a16:creationId xmlns:a16="http://schemas.microsoft.com/office/drawing/2014/main" id="{00DB428C-9061-421F-8EE1-966B7FA9FC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2909" y="750039"/>
                <a:ext cx="447093" cy="425446"/>
              </a:xfrm>
              <a:custGeom>
                <a:avLst/>
                <a:gdLst>
                  <a:gd name="T0" fmla="*/ 45 w 89"/>
                  <a:gd name="T1" fmla="*/ 0 h 89"/>
                  <a:gd name="T2" fmla="*/ 0 w 89"/>
                  <a:gd name="T3" fmla="*/ 45 h 89"/>
                  <a:gd name="T4" fmla="*/ 45 w 89"/>
                  <a:gd name="T5" fmla="*/ 89 h 89"/>
                  <a:gd name="T6" fmla="*/ 89 w 89"/>
                  <a:gd name="T7" fmla="*/ 45 h 89"/>
                  <a:gd name="T8" fmla="*/ 45 w 89"/>
                  <a:gd name="T9" fmla="*/ 0 h 89"/>
                  <a:gd name="T10" fmla="*/ 45 w 89"/>
                  <a:gd name="T11" fmla="*/ 85 h 89"/>
                  <a:gd name="T12" fmla="*/ 5 w 89"/>
                  <a:gd name="T13" fmla="*/ 45 h 89"/>
                  <a:gd name="T14" fmla="*/ 45 w 89"/>
                  <a:gd name="T15" fmla="*/ 5 h 89"/>
                  <a:gd name="T16" fmla="*/ 85 w 89"/>
                  <a:gd name="T17" fmla="*/ 45 h 89"/>
                  <a:gd name="T18" fmla="*/ 45 w 89"/>
                  <a:gd name="T19" fmla="*/ 85 h 89"/>
                  <a:gd name="T20" fmla="*/ 45 w 89"/>
                  <a:gd name="T21" fmla="*/ 85 h 89"/>
                  <a:gd name="T22" fmla="*/ 45 w 89"/>
                  <a:gd name="T23" fmla="*/ 8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89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  <a:cubicBezTo>
                      <a:pt x="0" y="69"/>
                      <a:pt x="20" y="89"/>
                      <a:pt x="45" y="89"/>
                    </a:cubicBezTo>
                    <a:cubicBezTo>
                      <a:pt x="69" y="89"/>
                      <a:pt x="89" y="69"/>
                      <a:pt x="89" y="45"/>
                    </a:cubicBezTo>
                    <a:cubicBezTo>
                      <a:pt x="89" y="20"/>
                      <a:pt x="69" y="0"/>
                      <a:pt x="45" y="0"/>
                    </a:cubicBezTo>
                    <a:close/>
                    <a:moveTo>
                      <a:pt x="45" y="85"/>
                    </a:moveTo>
                    <a:cubicBezTo>
                      <a:pt x="23" y="85"/>
                      <a:pt x="5" y="67"/>
                      <a:pt x="5" y="45"/>
                    </a:cubicBezTo>
                    <a:cubicBezTo>
                      <a:pt x="5" y="23"/>
                      <a:pt x="23" y="5"/>
                      <a:pt x="45" y="5"/>
                    </a:cubicBezTo>
                    <a:cubicBezTo>
                      <a:pt x="67" y="5"/>
                      <a:pt x="85" y="23"/>
                      <a:pt x="85" y="45"/>
                    </a:cubicBezTo>
                    <a:cubicBezTo>
                      <a:pt x="85" y="67"/>
                      <a:pt x="67" y="85"/>
                      <a:pt x="45" y="85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26985" tIns="13493" rIns="26985" bIns="134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pic>
            <p:nvPicPr>
              <p:cNvPr id="129" name="Content Placeholder 6">
                <a:hlinkClick r:id="rId12"/>
                <a:extLst>
                  <a:ext uri="{FF2B5EF4-FFF2-40B4-BE49-F238E27FC236}">
                    <a16:creationId xmlns:a16="http://schemas.microsoft.com/office/drawing/2014/main" id="{CC6230CC-3A9D-4CAA-95B4-4F1BD71202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64734" y="830598"/>
                <a:ext cx="204574" cy="271628"/>
              </a:xfrm>
              <a:prstGeom prst="rect">
                <a:avLst/>
              </a:prstGeom>
              <a:ln>
                <a:noFill/>
              </a:ln>
            </p:spPr>
          </p:pic>
        </p:grp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E3AA14C7-A433-4B22-8F03-1F8705380E92}"/>
              </a:ext>
            </a:extLst>
          </p:cNvPr>
          <p:cNvGrpSpPr/>
          <p:nvPr/>
        </p:nvGrpSpPr>
        <p:grpSpPr>
          <a:xfrm>
            <a:off x="950466" y="6055171"/>
            <a:ext cx="959685" cy="756789"/>
            <a:chOff x="7355672" y="1516517"/>
            <a:chExt cx="970538" cy="756789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6AAAF25D-4C17-4114-9565-8215E12B4CCA}"/>
                </a:ext>
              </a:extLst>
            </p:cNvPr>
            <p:cNvSpPr txBox="1"/>
            <p:nvPr/>
          </p:nvSpPr>
          <p:spPr>
            <a:xfrm>
              <a:off x="7355672" y="1934752"/>
              <a:ext cx="970538" cy="33855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Frontier Technologies</a:t>
              </a:r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1D8AC385-2E8B-4141-A148-D1C76DB0B746}"/>
                </a:ext>
              </a:extLst>
            </p:cNvPr>
            <p:cNvGrpSpPr/>
            <p:nvPr/>
          </p:nvGrpSpPr>
          <p:grpSpPr>
            <a:xfrm>
              <a:off x="7617395" y="1516517"/>
              <a:ext cx="447093" cy="425446"/>
              <a:chOff x="7214942" y="1856639"/>
              <a:chExt cx="447093" cy="425446"/>
            </a:xfrm>
          </p:grpSpPr>
          <p:sp>
            <p:nvSpPr>
              <p:cNvPr id="124" name="Freeform 6">
                <a:extLst>
                  <a:ext uri="{FF2B5EF4-FFF2-40B4-BE49-F238E27FC236}">
                    <a16:creationId xmlns:a16="http://schemas.microsoft.com/office/drawing/2014/main" id="{129EBAD7-639F-4211-8C85-649FAA670D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14942" y="1856639"/>
                <a:ext cx="447093" cy="425446"/>
              </a:xfrm>
              <a:custGeom>
                <a:avLst/>
                <a:gdLst>
                  <a:gd name="T0" fmla="*/ 45 w 89"/>
                  <a:gd name="T1" fmla="*/ 0 h 89"/>
                  <a:gd name="T2" fmla="*/ 0 w 89"/>
                  <a:gd name="T3" fmla="*/ 45 h 89"/>
                  <a:gd name="T4" fmla="*/ 45 w 89"/>
                  <a:gd name="T5" fmla="*/ 89 h 89"/>
                  <a:gd name="T6" fmla="*/ 89 w 89"/>
                  <a:gd name="T7" fmla="*/ 45 h 89"/>
                  <a:gd name="T8" fmla="*/ 45 w 89"/>
                  <a:gd name="T9" fmla="*/ 0 h 89"/>
                  <a:gd name="T10" fmla="*/ 45 w 89"/>
                  <a:gd name="T11" fmla="*/ 85 h 89"/>
                  <a:gd name="T12" fmla="*/ 5 w 89"/>
                  <a:gd name="T13" fmla="*/ 45 h 89"/>
                  <a:gd name="T14" fmla="*/ 45 w 89"/>
                  <a:gd name="T15" fmla="*/ 5 h 89"/>
                  <a:gd name="T16" fmla="*/ 85 w 89"/>
                  <a:gd name="T17" fmla="*/ 45 h 89"/>
                  <a:gd name="T18" fmla="*/ 45 w 89"/>
                  <a:gd name="T19" fmla="*/ 85 h 89"/>
                  <a:gd name="T20" fmla="*/ 45 w 89"/>
                  <a:gd name="T21" fmla="*/ 85 h 89"/>
                  <a:gd name="T22" fmla="*/ 45 w 89"/>
                  <a:gd name="T23" fmla="*/ 8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89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  <a:cubicBezTo>
                      <a:pt x="0" y="69"/>
                      <a:pt x="20" y="89"/>
                      <a:pt x="45" y="89"/>
                    </a:cubicBezTo>
                    <a:cubicBezTo>
                      <a:pt x="69" y="89"/>
                      <a:pt x="89" y="69"/>
                      <a:pt x="89" y="45"/>
                    </a:cubicBezTo>
                    <a:cubicBezTo>
                      <a:pt x="89" y="20"/>
                      <a:pt x="69" y="0"/>
                      <a:pt x="45" y="0"/>
                    </a:cubicBezTo>
                    <a:close/>
                    <a:moveTo>
                      <a:pt x="45" y="85"/>
                    </a:moveTo>
                    <a:cubicBezTo>
                      <a:pt x="23" y="85"/>
                      <a:pt x="5" y="67"/>
                      <a:pt x="5" y="45"/>
                    </a:cubicBezTo>
                    <a:cubicBezTo>
                      <a:pt x="5" y="23"/>
                      <a:pt x="23" y="5"/>
                      <a:pt x="45" y="5"/>
                    </a:cubicBezTo>
                    <a:cubicBezTo>
                      <a:pt x="67" y="5"/>
                      <a:pt x="85" y="23"/>
                      <a:pt x="85" y="45"/>
                    </a:cubicBezTo>
                    <a:cubicBezTo>
                      <a:pt x="85" y="67"/>
                      <a:pt x="67" y="85"/>
                      <a:pt x="45" y="85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26985" tIns="13493" rIns="26985" bIns="134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pic>
            <p:nvPicPr>
              <p:cNvPr id="130" name="Picture 129">
                <a:hlinkClick r:id="rId13"/>
                <a:extLst>
                  <a:ext uri="{FF2B5EF4-FFF2-40B4-BE49-F238E27FC236}">
                    <a16:creationId xmlns:a16="http://schemas.microsoft.com/office/drawing/2014/main" id="{C8F5F034-7948-4707-A06D-084893B749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322973" y="1920502"/>
                <a:ext cx="231030" cy="297720"/>
              </a:xfrm>
              <a:prstGeom prst="rect">
                <a:avLst/>
              </a:prstGeom>
            </p:spPr>
          </p:pic>
        </p:grp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FA36C994-8091-4984-A45F-4C24C6FE4939}"/>
              </a:ext>
            </a:extLst>
          </p:cNvPr>
          <p:cNvGrpSpPr/>
          <p:nvPr/>
        </p:nvGrpSpPr>
        <p:grpSpPr>
          <a:xfrm>
            <a:off x="10983858" y="5198028"/>
            <a:ext cx="959685" cy="652033"/>
            <a:chOff x="7335191" y="1516517"/>
            <a:chExt cx="970538" cy="652033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CCFA944B-D2C4-49ED-9DA1-A30AC9292EA6}"/>
                </a:ext>
              </a:extLst>
            </p:cNvPr>
            <p:cNvSpPr txBox="1"/>
            <p:nvPr/>
          </p:nvSpPr>
          <p:spPr>
            <a:xfrm>
              <a:off x="7335191" y="1953106"/>
              <a:ext cx="970538" cy="21544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dirty="0">
                  <a:solidFill>
                    <a:srgbClr val="FFFFFF"/>
                  </a:solidFill>
                  <a:latin typeface="Arial"/>
                  <a:ea typeface="ＭＳ Ｐゴシック"/>
                </a:rPr>
                <a:t>Role Based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12765D69-89B3-4D7B-A977-7F15AE640C81}"/>
                </a:ext>
              </a:extLst>
            </p:cNvPr>
            <p:cNvGrpSpPr/>
            <p:nvPr/>
          </p:nvGrpSpPr>
          <p:grpSpPr>
            <a:xfrm>
              <a:off x="7617395" y="1516517"/>
              <a:ext cx="447093" cy="425446"/>
              <a:chOff x="7214942" y="1856639"/>
              <a:chExt cx="447093" cy="425446"/>
            </a:xfrm>
          </p:grpSpPr>
          <p:sp>
            <p:nvSpPr>
              <p:cNvPr id="163" name="Freeform 6">
                <a:extLst>
                  <a:ext uri="{FF2B5EF4-FFF2-40B4-BE49-F238E27FC236}">
                    <a16:creationId xmlns:a16="http://schemas.microsoft.com/office/drawing/2014/main" id="{15BAB4BF-C0DE-4023-9F74-6D700E36DB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14942" y="1856639"/>
                <a:ext cx="447093" cy="425446"/>
              </a:xfrm>
              <a:custGeom>
                <a:avLst/>
                <a:gdLst>
                  <a:gd name="T0" fmla="*/ 45 w 89"/>
                  <a:gd name="T1" fmla="*/ 0 h 89"/>
                  <a:gd name="T2" fmla="*/ 0 w 89"/>
                  <a:gd name="T3" fmla="*/ 45 h 89"/>
                  <a:gd name="T4" fmla="*/ 45 w 89"/>
                  <a:gd name="T5" fmla="*/ 89 h 89"/>
                  <a:gd name="T6" fmla="*/ 89 w 89"/>
                  <a:gd name="T7" fmla="*/ 45 h 89"/>
                  <a:gd name="T8" fmla="*/ 45 w 89"/>
                  <a:gd name="T9" fmla="*/ 0 h 89"/>
                  <a:gd name="T10" fmla="*/ 45 w 89"/>
                  <a:gd name="T11" fmla="*/ 85 h 89"/>
                  <a:gd name="T12" fmla="*/ 5 w 89"/>
                  <a:gd name="T13" fmla="*/ 45 h 89"/>
                  <a:gd name="T14" fmla="*/ 45 w 89"/>
                  <a:gd name="T15" fmla="*/ 5 h 89"/>
                  <a:gd name="T16" fmla="*/ 85 w 89"/>
                  <a:gd name="T17" fmla="*/ 45 h 89"/>
                  <a:gd name="T18" fmla="*/ 45 w 89"/>
                  <a:gd name="T19" fmla="*/ 85 h 89"/>
                  <a:gd name="T20" fmla="*/ 45 w 89"/>
                  <a:gd name="T21" fmla="*/ 85 h 89"/>
                  <a:gd name="T22" fmla="*/ 45 w 89"/>
                  <a:gd name="T23" fmla="*/ 8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89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  <a:cubicBezTo>
                      <a:pt x="0" y="69"/>
                      <a:pt x="20" y="89"/>
                      <a:pt x="45" y="89"/>
                    </a:cubicBezTo>
                    <a:cubicBezTo>
                      <a:pt x="69" y="89"/>
                      <a:pt x="89" y="69"/>
                      <a:pt x="89" y="45"/>
                    </a:cubicBezTo>
                    <a:cubicBezTo>
                      <a:pt x="89" y="20"/>
                      <a:pt x="69" y="0"/>
                      <a:pt x="45" y="0"/>
                    </a:cubicBezTo>
                    <a:close/>
                    <a:moveTo>
                      <a:pt x="45" y="85"/>
                    </a:moveTo>
                    <a:cubicBezTo>
                      <a:pt x="23" y="85"/>
                      <a:pt x="5" y="67"/>
                      <a:pt x="5" y="45"/>
                    </a:cubicBezTo>
                    <a:cubicBezTo>
                      <a:pt x="5" y="23"/>
                      <a:pt x="23" y="5"/>
                      <a:pt x="45" y="5"/>
                    </a:cubicBezTo>
                    <a:cubicBezTo>
                      <a:pt x="67" y="5"/>
                      <a:pt x="85" y="23"/>
                      <a:pt x="85" y="45"/>
                    </a:cubicBezTo>
                    <a:cubicBezTo>
                      <a:pt x="85" y="67"/>
                      <a:pt x="67" y="85"/>
                      <a:pt x="45" y="85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26985" tIns="13493" rIns="26985" bIns="134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pic>
            <p:nvPicPr>
              <p:cNvPr id="164" name="Picture 163">
                <a:extLst>
                  <a:ext uri="{FF2B5EF4-FFF2-40B4-BE49-F238E27FC236}">
                    <a16:creationId xmlns:a16="http://schemas.microsoft.com/office/drawing/2014/main" id="{FF68850E-C120-45F9-9060-59686E5C0D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322973" y="1920502"/>
                <a:ext cx="231030" cy="297720"/>
              </a:xfrm>
              <a:prstGeom prst="rect">
                <a:avLst/>
              </a:prstGeom>
              <a:ln>
                <a:noFill/>
              </a:ln>
            </p:spPr>
          </p:pic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E06CE1F-0F62-4D95-96C8-7A760EAC9458}"/>
              </a:ext>
            </a:extLst>
          </p:cNvPr>
          <p:cNvGrpSpPr/>
          <p:nvPr/>
        </p:nvGrpSpPr>
        <p:grpSpPr>
          <a:xfrm>
            <a:off x="395862" y="1069644"/>
            <a:ext cx="3955234" cy="3962017"/>
            <a:chOff x="370781" y="1107689"/>
            <a:chExt cx="3955234" cy="3962017"/>
          </a:xfrm>
        </p:grpSpPr>
        <p:sp>
          <p:nvSpPr>
            <p:cNvPr id="44" name="Flowchart: Alternate Process 43">
              <a:extLst>
                <a:ext uri="{FF2B5EF4-FFF2-40B4-BE49-F238E27FC236}">
                  <a16:creationId xmlns:a16="http://schemas.microsoft.com/office/drawing/2014/main" id="{6E83555A-E9E1-4798-A8F8-3B50781A31F5}"/>
                </a:ext>
              </a:extLst>
            </p:cNvPr>
            <p:cNvSpPr/>
            <p:nvPr/>
          </p:nvSpPr>
          <p:spPr bwMode="auto">
            <a:xfrm>
              <a:off x="370782" y="1107689"/>
              <a:ext cx="3940418" cy="487225"/>
            </a:xfrm>
            <a:prstGeom prst="flowChartAlternateProcess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</a:rPr>
                <a:t>Data Literacy </a:t>
              </a: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  <a:ea typeface="+mn-lt"/>
                  <a:cs typeface="+mn-lt"/>
                </a:rPr>
                <a:t>–</a:t>
              </a: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  <a:latin typeface="+mj-lt"/>
                </a:rPr>
                <a:t> </a:t>
              </a:r>
              <a:r>
                <a:rPr lang="en-US" sz="900" dirty="0">
                  <a:solidFill>
                    <a:schemeClr val="accent1"/>
                  </a:solidFill>
                  <a:latin typeface="+mj-lt"/>
                  <a:cs typeface="Calibri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ata Driven Decision Making</a:t>
              </a:r>
              <a:endParaRPr lang="en-US" sz="900" dirty="0">
                <a:solidFill>
                  <a:schemeClr val="accent1"/>
                </a:solidFill>
                <a:latin typeface="+mj-lt"/>
                <a:cs typeface="Calibri"/>
              </a:endParaRPr>
            </a:p>
            <a:p>
              <a:pPr lvl="0">
                <a:defRPr/>
              </a:pPr>
              <a:r>
                <a:rPr lang="en-US" sz="900" dirty="0">
                  <a:solidFill>
                    <a:schemeClr val="tx1">
                      <a:lumMod val="50000"/>
                    </a:schemeClr>
                  </a:solidFill>
                </a:rPr>
                <a:t>Information, skills, and practices that you need to make smart, fast, and informed business decisions.</a:t>
              </a:r>
              <a:endParaRPr lang="en-GB" sz="900" dirty="0">
                <a:solidFill>
                  <a:schemeClr val="tx1">
                    <a:lumMod val="50000"/>
                  </a:schemeClr>
                </a:solidFill>
                <a:cs typeface="Arial"/>
              </a:endParaRPr>
            </a:p>
          </p:txBody>
        </p:sp>
        <p:sp>
          <p:nvSpPr>
            <p:cNvPr id="171" name="Flowchart: Alternate Process 170">
              <a:extLst>
                <a:ext uri="{FF2B5EF4-FFF2-40B4-BE49-F238E27FC236}">
                  <a16:creationId xmlns:a16="http://schemas.microsoft.com/office/drawing/2014/main" id="{C217E57B-824B-423A-9E51-294E13342AB7}"/>
                </a:ext>
              </a:extLst>
            </p:cNvPr>
            <p:cNvSpPr/>
            <p:nvPr/>
          </p:nvSpPr>
          <p:spPr bwMode="auto">
            <a:xfrm>
              <a:off x="370781" y="1685921"/>
              <a:ext cx="3940418" cy="497808"/>
            </a:xfrm>
            <a:prstGeom prst="flowChartAlternateProcess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</a:rPr>
                <a:t>Frontier Technologies </a:t>
              </a: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  <a:ea typeface="+mn-lt"/>
                  <a:cs typeface="+mn-lt"/>
                </a:rPr>
                <a:t>–</a:t>
              </a: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</a:rPr>
                <a:t> </a:t>
              </a:r>
              <a:r>
                <a:rPr lang="en-US" sz="900" dirty="0">
                  <a:solidFill>
                    <a:schemeClr val="accent1"/>
                  </a:solidFill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troduction to Digital Twins</a:t>
              </a:r>
              <a:endParaRPr lang="en-US" sz="900" dirty="0">
                <a:solidFill>
                  <a:schemeClr val="accent1"/>
                </a:solidFill>
              </a:endParaRPr>
            </a:p>
            <a:p>
              <a:pPr>
                <a:defRPr/>
              </a:pPr>
              <a:r>
                <a:rPr lang="en-US" sz="900" dirty="0">
                  <a:solidFill>
                    <a:schemeClr val="tx1">
                      <a:lumMod val="50000"/>
                    </a:schemeClr>
                  </a:solidFill>
                </a:rPr>
                <a:t>Learn how digital twins work, and how they can revolutionize how an organization designs, builds, and maintains solutions.</a:t>
              </a:r>
            </a:p>
          </p:txBody>
        </p:sp>
        <p:sp>
          <p:nvSpPr>
            <p:cNvPr id="172" name="Flowchart: Alternate Process 171">
              <a:extLst>
                <a:ext uri="{FF2B5EF4-FFF2-40B4-BE49-F238E27FC236}">
                  <a16:creationId xmlns:a16="http://schemas.microsoft.com/office/drawing/2014/main" id="{831397FE-D0F5-4685-AF21-06C4FFD8EE8C}"/>
                </a:ext>
              </a:extLst>
            </p:cNvPr>
            <p:cNvSpPr/>
            <p:nvPr/>
          </p:nvSpPr>
          <p:spPr bwMode="auto">
            <a:xfrm>
              <a:off x="385597" y="4014094"/>
              <a:ext cx="3940418" cy="490079"/>
            </a:xfrm>
            <a:prstGeom prst="flowChartAlternateProcess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</a:rPr>
                <a:t>Scrum </a:t>
              </a: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  <a:ea typeface="+mn-lt"/>
                  <a:cs typeface="+mn-lt"/>
                </a:rPr>
                <a:t>–</a:t>
              </a: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</a:rPr>
                <a:t> </a:t>
              </a:r>
              <a:r>
                <a:rPr lang="en-GB" sz="900" b="1" i="1" dirty="0">
                  <a:solidFill>
                    <a:schemeClr val="accent1"/>
                  </a:solidFill>
                </a:rPr>
                <a:t>(Coming soon)</a:t>
              </a:r>
            </a:p>
            <a:p>
              <a:pPr lvl="0">
                <a:defRPr/>
              </a:pPr>
              <a:r>
                <a:rPr lang="en-GB" sz="900" dirty="0">
                  <a:solidFill>
                    <a:schemeClr val="tx1">
                      <a:lumMod val="50000"/>
                    </a:schemeClr>
                  </a:solidFill>
                </a:rPr>
                <a:t>Roles and responsibilities on the scrum team; Cadence of scrum ceremonies; Typical process steps during each sprint.</a:t>
              </a:r>
            </a:p>
          </p:txBody>
        </p:sp>
        <p:sp>
          <p:nvSpPr>
            <p:cNvPr id="173" name="Flowchart: Alternate Process 172">
              <a:extLst>
                <a:ext uri="{FF2B5EF4-FFF2-40B4-BE49-F238E27FC236}">
                  <a16:creationId xmlns:a16="http://schemas.microsoft.com/office/drawing/2014/main" id="{0DF0349D-D457-4C48-8026-0F247C5401A8}"/>
                </a:ext>
              </a:extLst>
            </p:cNvPr>
            <p:cNvSpPr/>
            <p:nvPr/>
          </p:nvSpPr>
          <p:spPr bwMode="auto">
            <a:xfrm>
              <a:off x="381365" y="2855254"/>
              <a:ext cx="3940418" cy="486288"/>
            </a:xfrm>
            <a:prstGeom prst="flowChartAlternateProcess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lvl="0">
                <a:defRPr/>
              </a:pPr>
              <a:r>
                <a:rPr lang="en-GB" sz="900" b="1" u="sng" dirty="0">
                  <a:solidFill>
                    <a:schemeClr val="accent1"/>
                  </a:solidFill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gile 101</a:t>
              </a:r>
              <a:endParaRPr lang="en-GB" sz="900" b="1" u="sng" dirty="0">
                <a:solidFill>
                  <a:schemeClr val="accent1"/>
                </a:solidFill>
              </a:endParaRPr>
            </a:p>
            <a:p>
              <a:pPr lvl="0">
                <a:defRPr/>
              </a:pPr>
              <a:r>
                <a:rPr lang="en-GB" sz="900" dirty="0">
                  <a:solidFill>
                    <a:schemeClr val="tx1">
                      <a:lumMod val="50000"/>
                    </a:schemeClr>
                  </a:solidFill>
                </a:rPr>
                <a:t>Understand Agile mindset and foundational concepts of how Agile teams work. Intro to the idea of rapid iterations and concept of MVP</a:t>
              </a: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</a:rPr>
                <a:t>.</a:t>
              </a:r>
              <a:endParaRPr lang="en-GB" sz="9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75" name="Flowchart: Alternate Process 174">
              <a:extLst>
                <a:ext uri="{FF2B5EF4-FFF2-40B4-BE49-F238E27FC236}">
                  <a16:creationId xmlns:a16="http://schemas.microsoft.com/office/drawing/2014/main" id="{3C098C1E-F5B4-495F-8CE6-9948FA1BCEB6}"/>
                </a:ext>
              </a:extLst>
            </p:cNvPr>
            <p:cNvSpPr/>
            <p:nvPr/>
          </p:nvSpPr>
          <p:spPr bwMode="auto">
            <a:xfrm>
              <a:off x="370781" y="4581260"/>
              <a:ext cx="3951002" cy="488446"/>
            </a:xfrm>
            <a:prstGeom prst="flowChartAlternateProcess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</a:rPr>
                <a:t>Intro to Product Operating Model </a:t>
              </a: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  <a:ea typeface="+mn-lt"/>
                  <a:cs typeface="+mn-lt"/>
                </a:rPr>
                <a:t>–</a:t>
              </a:r>
              <a:r>
                <a:rPr lang="en-GB" sz="900" b="1" dirty="0">
                  <a:solidFill>
                    <a:schemeClr val="tx1">
                      <a:lumMod val="50000"/>
                    </a:schemeClr>
                  </a:solidFill>
                </a:rPr>
                <a:t> </a:t>
              </a:r>
              <a:r>
                <a:rPr lang="en-GB" sz="900" b="1" i="1" dirty="0">
                  <a:solidFill>
                    <a:schemeClr val="accent1"/>
                  </a:solidFill>
                </a:rPr>
                <a:t>(Coming soon)</a:t>
              </a:r>
            </a:p>
            <a:p>
              <a:pPr lvl="0">
                <a:defRPr/>
              </a:pPr>
              <a:r>
                <a:rPr lang="en-GB" sz="900" dirty="0">
                  <a:solidFill>
                    <a:schemeClr val="tx1">
                      <a:lumMod val="50000"/>
                    </a:schemeClr>
                  </a:solidFill>
                </a:rPr>
                <a:t>Roles on the squad, overview of process steps, differences relative to other models</a:t>
              </a:r>
            </a:p>
          </p:txBody>
        </p:sp>
      </p:grpSp>
      <p:sp>
        <p:nvSpPr>
          <p:cNvPr id="176" name="Flowchart: Alternate Process 175">
            <a:extLst>
              <a:ext uri="{FF2B5EF4-FFF2-40B4-BE49-F238E27FC236}">
                <a16:creationId xmlns:a16="http://schemas.microsoft.com/office/drawing/2014/main" id="{88FF05F3-DCF0-4743-8BD8-98EF0B8CA9E1}"/>
              </a:ext>
            </a:extLst>
          </p:cNvPr>
          <p:cNvSpPr/>
          <p:nvPr/>
        </p:nvSpPr>
        <p:spPr bwMode="auto">
          <a:xfrm>
            <a:off x="4645636" y="1064229"/>
            <a:ext cx="3993335" cy="656558"/>
          </a:xfrm>
          <a:prstGeom prst="flowChartAlternateProcess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GB" sz="900" b="1" dirty="0">
                <a:solidFill>
                  <a:schemeClr val="accent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S Teams Tips &amp; Tricks</a:t>
            </a:r>
            <a:r>
              <a:rPr lang="en-GB" sz="900" b="1" dirty="0">
                <a:solidFill>
                  <a:schemeClr val="accent1"/>
                </a:solidFill>
              </a:rPr>
              <a:t>  </a:t>
            </a:r>
            <a:r>
              <a:rPr lang="en-GB" sz="900" b="1" i="1" dirty="0">
                <a:solidFill>
                  <a:schemeClr val="accent1"/>
                </a:solidFill>
              </a:rPr>
              <a:t>(optional)</a:t>
            </a:r>
            <a:endParaRPr lang="en-GB" sz="900" b="1" i="1" dirty="0">
              <a:solidFill>
                <a:schemeClr val="accent1"/>
              </a:solidFill>
              <a:cs typeface="Arial"/>
              <a:hlinkClick r:id="rId1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lvl="0">
              <a:defRPr/>
            </a:pPr>
            <a:endParaRPr lang="en-GB" sz="900" b="1" dirty="0">
              <a:solidFill>
                <a:schemeClr val="tx1">
                  <a:lumMod val="50000"/>
                </a:schemeClr>
              </a:solidFill>
            </a:endParaRPr>
          </a:p>
          <a:p>
            <a:pPr lvl="0">
              <a:defRPr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Streamlining Work; Control Teams &amp; Channels; Communication Options; Make Messages More Accessible </a:t>
            </a:r>
            <a:endParaRPr lang="en-GB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81" name="Flowchart: Alternate Process 180">
            <a:extLst>
              <a:ext uri="{FF2B5EF4-FFF2-40B4-BE49-F238E27FC236}">
                <a16:creationId xmlns:a16="http://schemas.microsoft.com/office/drawing/2014/main" id="{616B5616-F151-4E6F-A36D-266EDE142B4C}"/>
              </a:ext>
            </a:extLst>
          </p:cNvPr>
          <p:cNvSpPr/>
          <p:nvPr/>
        </p:nvSpPr>
        <p:spPr bwMode="auto">
          <a:xfrm>
            <a:off x="8929699" y="1064229"/>
            <a:ext cx="2805062" cy="656558"/>
          </a:xfrm>
          <a:prstGeom prst="flowChartAlternateProcess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sz="900" b="1" dirty="0">
                <a:solidFill>
                  <a:schemeClr val="tx1">
                    <a:lumMod val="50000"/>
                  </a:schemeClr>
                </a:solidFill>
              </a:rPr>
              <a:t>Training will vary by Role</a:t>
            </a:r>
          </a:p>
          <a:p>
            <a:pPr lvl="0">
              <a:defRPr/>
            </a:pPr>
            <a:endParaRPr lang="en-US" sz="900" b="1" dirty="0">
              <a:solidFill>
                <a:schemeClr val="tx1">
                  <a:lumMod val="50000"/>
                </a:schemeClr>
              </a:solidFill>
            </a:endParaRPr>
          </a:p>
          <a:p>
            <a:pPr lvl="0">
              <a:defRPr/>
            </a:pPr>
            <a:r>
              <a:rPr lang="en-US" sz="900" b="1" i="1" dirty="0">
                <a:solidFill>
                  <a:schemeClr val="tx1">
                    <a:lumMod val="50000"/>
                  </a:schemeClr>
                </a:solidFill>
              </a:rPr>
              <a:t>Learning Paths under construction</a:t>
            </a:r>
            <a:endParaRPr lang="en-US" sz="900" i="1" dirty="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2A8787C-DBF1-4683-9A6E-BDD9D9242F77}"/>
              </a:ext>
            </a:extLst>
          </p:cNvPr>
          <p:cNvGrpSpPr/>
          <p:nvPr/>
        </p:nvGrpSpPr>
        <p:grpSpPr>
          <a:xfrm>
            <a:off x="234575" y="5292162"/>
            <a:ext cx="959685" cy="633679"/>
            <a:chOff x="7355672" y="1516517"/>
            <a:chExt cx="970538" cy="633679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82A12F08-8260-4631-B9D1-B26007B6F0A9}"/>
                </a:ext>
              </a:extLst>
            </p:cNvPr>
            <p:cNvSpPr txBox="1"/>
            <p:nvPr/>
          </p:nvSpPr>
          <p:spPr>
            <a:xfrm>
              <a:off x="7355672" y="1934752"/>
              <a:ext cx="970538" cy="21544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ata Literacy</a:t>
              </a:r>
            </a:p>
          </p:txBody>
        </p: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403EAD43-947F-4845-82DB-4979E1E739A5}"/>
                </a:ext>
              </a:extLst>
            </p:cNvPr>
            <p:cNvGrpSpPr/>
            <p:nvPr/>
          </p:nvGrpSpPr>
          <p:grpSpPr>
            <a:xfrm>
              <a:off x="7617395" y="1516517"/>
              <a:ext cx="447093" cy="425446"/>
              <a:chOff x="7214942" y="1856639"/>
              <a:chExt cx="447093" cy="425446"/>
            </a:xfrm>
          </p:grpSpPr>
          <p:sp>
            <p:nvSpPr>
              <p:cNvPr id="119" name="Freeform 6">
                <a:extLst>
                  <a:ext uri="{FF2B5EF4-FFF2-40B4-BE49-F238E27FC236}">
                    <a16:creationId xmlns:a16="http://schemas.microsoft.com/office/drawing/2014/main" id="{EBE6570D-CC74-4E9C-AF38-03761985B9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14942" y="1856639"/>
                <a:ext cx="447093" cy="425446"/>
              </a:xfrm>
              <a:custGeom>
                <a:avLst/>
                <a:gdLst>
                  <a:gd name="T0" fmla="*/ 45 w 89"/>
                  <a:gd name="T1" fmla="*/ 0 h 89"/>
                  <a:gd name="T2" fmla="*/ 0 w 89"/>
                  <a:gd name="T3" fmla="*/ 45 h 89"/>
                  <a:gd name="T4" fmla="*/ 45 w 89"/>
                  <a:gd name="T5" fmla="*/ 89 h 89"/>
                  <a:gd name="T6" fmla="*/ 89 w 89"/>
                  <a:gd name="T7" fmla="*/ 45 h 89"/>
                  <a:gd name="T8" fmla="*/ 45 w 89"/>
                  <a:gd name="T9" fmla="*/ 0 h 89"/>
                  <a:gd name="T10" fmla="*/ 45 w 89"/>
                  <a:gd name="T11" fmla="*/ 85 h 89"/>
                  <a:gd name="T12" fmla="*/ 5 w 89"/>
                  <a:gd name="T13" fmla="*/ 45 h 89"/>
                  <a:gd name="T14" fmla="*/ 45 w 89"/>
                  <a:gd name="T15" fmla="*/ 5 h 89"/>
                  <a:gd name="T16" fmla="*/ 85 w 89"/>
                  <a:gd name="T17" fmla="*/ 45 h 89"/>
                  <a:gd name="T18" fmla="*/ 45 w 89"/>
                  <a:gd name="T19" fmla="*/ 85 h 89"/>
                  <a:gd name="T20" fmla="*/ 45 w 89"/>
                  <a:gd name="T21" fmla="*/ 85 h 89"/>
                  <a:gd name="T22" fmla="*/ 45 w 89"/>
                  <a:gd name="T23" fmla="*/ 8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89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  <a:cubicBezTo>
                      <a:pt x="0" y="69"/>
                      <a:pt x="20" y="89"/>
                      <a:pt x="45" y="89"/>
                    </a:cubicBezTo>
                    <a:cubicBezTo>
                      <a:pt x="69" y="89"/>
                      <a:pt x="89" y="69"/>
                      <a:pt x="89" y="45"/>
                    </a:cubicBezTo>
                    <a:cubicBezTo>
                      <a:pt x="89" y="20"/>
                      <a:pt x="69" y="0"/>
                      <a:pt x="45" y="0"/>
                    </a:cubicBezTo>
                    <a:close/>
                    <a:moveTo>
                      <a:pt x="45" y="85"/>
                    </a:moveTo>
                    <a:cubicBezTo>
                      <a:pt x="23" y="85"/>
                      <a:pt x="5" y="67"/>
                      <a:pt x="5" y="45"/>
                    </a:cubicBezTo>
                    <a:cubicBezTo>
                      <a:pt x="5" y="23"/>
                      <a:pt x="23" y="5"/>
                      <a:pt x="45" y="5"/>
                    </a:cubicBezTo>
                    <a:cubicBezTo>
                      <a:pt x="67" y="5"/>
                      <a:pt x="85" y="23"/>
                      <a:pt x="85" y="45"/>
                    </a:cubicBezTo>
                    <a:cubicBezTo>
                      <a:pt x="85" y="67"/>
                      <a:pt x="67" y="85"/>
                      <a:pt x="45" y="85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26985" tIns="13493" rIns="26985" bIns="134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pic>
            <p:nvPicPr>
              <p:cNvPr id="154" name="Picture 153">
                <a:hlinkClick r:id="rId15"/>
                <a:extLst>
                  <a:ext uri="{FF2B5EF4-FFF2-40B4-BE49-F238E27FC236}">
                    <a16:creationId xmlns:a16="http://schemas.microsoft.com/office/drawing/2014/main" id="{AE451B91-928A-479F-919D-F21EF97418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322973" y="1920502"/>
                <a:ext cx="231030" cy="297720"/>
              </a:xfrm>
              <a:prstGeom prst="rect">
                <a:avLst/>
              </a:prstGeom>
              <a:ln>
                <a:noFill/>
              </a:ln>
            </p:spPr>
          </p:pic>
        </p:grpSp>
      </p:grpSp>
      <p:sp>
        <p:nvSpPr>
          <p:cNvPr id="3" name="Flowchart: Alternate Process 2">
            <a:extLst>
              <a:ext uri="{FF2B5EF4-FFF2-40B4-BE49-F238E27FC236}">
                <a16:creationId xmlns:a16="http://schemas.microsoft.com/office/drawing/2014/main" id="{841720E8-5BCA-4014-AAB8-2084A1E8BA2C}"/>
              </a:ext>
            </a:extLst>
          </p:cNvPr>
          <p:cNvSpPr/>
          <p:nvPr/>
        </p:nvSpPr>
        <p:spPr bwMode="auto">
          <a:xfrm>
            <a:off x="395862" y="2223102"/>
            <a:ext cx="3940418" cy="486288"/>
          </a:xfrm>
          <a:prstGeom prst="flowChartAlternateProcess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GB" sz="900" b="1" dirty="0">
                <a:solidFill>
                  <a:schemeClr val="tx1">
                    <a:lumMod val="50000"/>
                  </a:schemeClr>
                </a:solidFill>
                <a:cs typeface="Arial"/>
              </a:rPr>
              <a:t>Security – </a:t>
            </a:r>
            <a:r>
              <a:rPr lang="en-GB" sz="900" b="1" dirty="0">
                <a:solidFill>
                  <a:schemeClr val="accent1"/>
                </a:solidFill>
                <a:cs typeface="Arial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ybersecurity at Work</a:t>
            </a:r>
            <a:r>
              <a:rPr lang="en-GB" sz="900" b="1" dirty="0">
                <a:solidFill>
                  <a:schemeClr val="accent1"/>
                </a:solidFill>
                <a:cs typeface="Arial"/>
              </a:rPr>
              <a:t> </a:t>
            </a:r>
            <a:endParaRPr lang="en-GB" sz="900" dirty="0">
              <a:solidFill>
                <a:schemeClr val="accent1"/>
              </a:solidFill>
              <a:cs typeface="Arial"/>
            </a:endParaRPr>
          </a:p>
          <a:p>
            <a:pPr lvl="0">
              <a:defRPr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How to avoid phishing, malware, and social engineering attacks. Get best practices for protecting company intellectual property, and online activity.</a:t>
            </a:r>
            <a:endParaRPr lang="en-GB" sz="900" dirty="0">
              <a:solidFill>
                <a:schemeClr val="tx1">
                  <a:lumMod val="50000"/>
                </a:schemeClr>
              </a:solidFill>
              <a:cs typeface="Arial"/>
            </a:endParaRPr>
          </a:p>
        </p:txBody>
      </p:sp>
      <p:sp>
        <p:nvSpPr>
          <p:cNvPr id="60" name="Flowchart: Alternate Process 59">
            <a:extLst>
              <a:ext uri="{FF2B5EF4-FFF2-40B4-BE49-F238E27FC236}">
                <a16:creationId xmlns:a16="http://schemas.microsoft.com/office/drawing/2014/main" id="{887651CD-F78F-4A36-9CB8-0C13666CF96D}"/>
              </a:ext>
            </a:extLst>
          </p:cNvPr>
          <p:cNvSpPr/>
          <p:nvPr/>
        </p:nvSpPr>
        <p:spPr bwMode="auto">
          <a:xfrm>
            <a:off x="410678" y="3393271"/>
            <a:ext cx="3940418" cy="486288"/>
          </a:xfrm>
          <a:prstGeom prst="flowChartAlternateProcess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GB" sz="900" b="1" dirty="0">
                <a:solidFill>
                  <a:schemeClr val="tx1">
                    <a:lumMod val="50000"/>
                  </a:schemeClr>
                </a:solidFill>
                <a:cs typeface="Arial"/>
              </a:rPr>
              <a:t>Lean – </a:t>
            </a:r>
            <a:r>
              <a:rPr lang="en-GB" sz="900" dirty="0">
                <a:solidFill>
                  <a:schemeClr val="accent1"/>
                </a:solidFill>
                <a:cs typeface="Arial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n Foundations</a:t>
            </a:r>
            <a:endParaRPr lang="en-GB" sz="900" dirty="0">
              <a:solidFill>
                <a:schemeClr val="accent1"/>
              </a:solidFill>
              <a:cs typeface="Arial"/>
            </a:endParaRPr>
          </a:p>
          <a:p>
            <a:pPr lvl="0">
              <a:defRPr/>
            </a:pPr>
            <a:r>
              <a:rPr lang="en-US" sz="900" dirty="0">
                <a:solidFill>
                  <a:schemeClr val="tx1">
                    <a:lumMod val="50000"/>
                  </a:schemeClr>
                </a:solidFill>
              </a:rPr>
              <a:t>Concepts about an operations management approach that creates more value for customers with fewer resources. </a:t>
            </a:r>
            <a:endParaRPr lang="en-GB" sz="900" dirty="0">
              <a:solidFill>
                <a:schemeClr val="tx1">
                  <a:lumMod val="50000"/>
                </a:schemeClr>
              </a:solidFill>
              <a:cs typeface="Arial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B4AFDC4A-B210-4DDE-877C-022A6CD290D2}"/>
              </a:ext>
            </a:extLst>
          </p:cNvPr>
          <p:cNvGrpSpPr/>
          <p:nvPr/>
        </p:nvGrpSpPr>
        <p:grpSpPr>
          <a:xfrm>
            <a:off x="1796703" y="6023368"/>
            <a:ext cx="959685" cy="631475"/>
            <a:chOff x="320221" y="537861"/>
            <a:chExt cx="970538" cy="631475"/>
          </a:xfrm>
        </p:grpSpPr>
        <p:sp>
          <p:nvSpPr>
            <p:cNvPr id="63" name="TextBox 62">
              <a:hlinkClick r:id="rId10"/>
              <a:extLst>
                <a:ext uri="{FF2B5EF4-FFF2-40B4-BE49-F238E27FC236}">
                  <a16:creationId xmlns:a16="http://schemas.microsoft.com/office/drawing/2014/main" id="{8D9C0B7C-10DC-459F-B3AF-D7D57C35705C}"/>
                </a:ext>
              </a:extLst>
            </p:cNvPr>
            <p:cNvSpPr txBox="1"/>
            <p:nvPr/>
          </p:nvSpPr>
          <p:spPr>
            <a:xfrm>
              <a:off x="320221" y="953892"/>
              <a:ext cx="970538" cy="21544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Security</a:t>
              </a: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FF26280B-66A7-4060-9B22-7A5BD169B2FF}"/>
                </a:ext>
              </a:extLst>
            </p:cNvPr>
            <p:cNvGrpSpPr/>
            <p:nvPr/>
          </p:nvGrpSpPr>
          <p:grpSpPr>
            <a:xfrm>
              <a:off x="590724" y="537861"/>
              <a:ext cx="447093" cy="425446"/>
              <a:chOff x="1010614" y="752800"/>
              <a:chExt cx="447093" cy="425446"/>
            </a:xfrm>
          </p:grpSpPr>
          <p:sp>
            <p:nvSpPr>
              <p:cNvPr id="65" name="Freeform 6">
                <a:extLst>
                  <a:ext uri="{FF2B5EF4-FFF2-40B4-BE49-F238E27FC236}">
                    <a16:creationId xmlns:a16="http://schemas.microsoft.com/office/drawing/2014/main" id="{0E087A90-D086-40D4-9C69-13B1BE7D07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0614" y="752800"/>
                <a:ext cx="447093" cy="425446"/>
              </a:xfrm>
              <a:custGeom>
                <a:avLst/>
                <a:gdLst>
                  <a:gd name="T0" fmla="*/ 45 w 89"/>
                  <a:gd name="T1" fmla="*/ 0 h 89"/>
                  <a:gd name="T2" fmla="*/ 0 w 89"/>
                  <a:gd name="T3" fmla="*/ 45 h 89"/>
                  <a:gd name="T4" fmla="*/ 45 w 89"/>
                  <a:gd name="T5" fmla="*/ 89 h 89"/>
                  <a:gd name="T6" fmla="*/ 89 w 89"/>
                  <a:gd name="T7" fmla="*/ 45 h 89"/>
                  <a:gd name="T8" fmla="*/ 45 w 89"/>
                  <a:gd name="T9" fmla="*/ 0 h 89"/>
                  <a:gd name="T10" fmla="*/ 45 w 89"/>
                  <a:gd name="T11" fmla="*/ 85 h 89"/>
                  <a:gd name="T12" fmla="*/ 5 w 89"/>
                  <a:gd name="T13" fmla="*/ 45 h 89"/>
                  <a:gd name="T14" fmla="*/ 45 w 89"/>
                  <a:gd name="T15" fmla="*/ 5 h 89"/>
                  <a:gd name="T16" fmla="*/ 85 w 89"/>
                  <a:gd name="T17" fmla="*/ 45 h 89"/>
                  <a:gd name="T18" fmla="*/ 45 w 89"/>
                  <a:gd name="T19" fmla="*/ 85 h 89"/>
                  <a:gd name="T20" fmla="*/ 45 w 89"/>
                  <a:gd name="T21" fmla="*/ 85 h 89"/>
                  <a:gd name="T22" fmla="*/ 45 w 89"/>
                  <a:gd name="T23" fmla="*/ 8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89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  <a:cubicBezTo>
                      <a:pt x="0" y="69"/>
                      <a:pt x="20" y="89"/>
                      <a:pt x="45" y="89"/>
                    </a:cubicBezTo>
                    <a:cubicBezTo>
                      <a:pt x="69" y="89"/>
                      <a:pt x="89" y="69"/>
                      <a:pt x="89" y="45"/>
                    </a:cubicBezTo>
                    <a:cubicBezTo>
                      <a:pt x="89" y="20"/>
                      <a:pt x="69" y="0"/>
                      <a:pt x="45" y="0"/>
                    </a:cubicBezTo>
                    <a:close/>
                    <a:moveTo>
                      <a:pt x="45" y="85"/>
                    </a:moveTo>
                    <a:cubicBezTo>
                      <a:pt x="23" y="85"/>
                      <a:pt x="5" y="67"/>
                      <a:pt x="5" y="45"/>
                    </a:cubicBezTo>
                    <a:cubicBezTo>
                      <a:pt x="5" y="23"/>
                      <a:pt x="23" y="5"/>
                      <a:pt x="45" y="5"/>
                    </a:cubicBezTo>
                    <a:cubicBezTo>
                      <a:pt x="67" y="5"/>
                      <a:pt x="85" y="23"/>
                      <a:pt x="85" y="45"/>
                    </a:cubicBezTo>
                    <a:cubicBezTo>
                      <a:pt x="85" y="67"/>
                      <a:pt x="67" y="85"/>
                      <a:pt x="45" y="85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26985" tIns="13493" rIns="26985" bIns="134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pic>
            <p:nvPicPr>
              <p:cNvPr id="66" name="Picture 65">
                <a:hlinkClick r:id="rId16"/>
                <a:extLst>
                  <a:ext uri="{FF2B5EF4-FFF2-40B4-BE49-F238E27FC236}">
                    <a16:creationId xmlns:a16="http://schemas.microsoft.com/office/drawing/2014/main" id="{87381930-C9DD-4CEB-B5DE-ED09B00D1E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107127" y="851224"/>
                <a:ext cx="267217" cy="235611"/>
              </a:xfrm>
              <a:prstGeom prst="rect">
                <a:avLst/>
              </a:prstGeom>
            </p:spPr>
          </p:pic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333CB4F-F164-424A-8C9C-2548746C69C2}"/>
              </a:ext>
            </a:extLst>
          </p:cNvPr>
          <p:cNvGrpSpPr/>
          <p:nvPr/>
        </p:nvGrpSpPr>
        <p:grpSpPr>
          <a:xfrm>
            <a:off x="2397634" y="5877298"/>
            <a:ext cx="1264476" cy="629739"/>
            <a:chOff x="1517252" y="1182300"/>
            <a:chExt cx="1278776" cy="629739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B4243E87-BBB0-4964-8F16-3357EEA79669}"/>
                </a:ext>
              </a:extLst>
            </p:cNvPr>
            <p:cNvSpPr txBox="1"/>
            <p:nvPr/>
          </p:nvSpPr>
          <p:spPr>
            <a:xfrm>
              <a:off x="1517252" y="1596595"/>
              <a:ext cx="1278776" cy="21544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Lean</a:t>
              </a: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7BAC9D65-8EDB-44D3-9679-3DE1384693AD}"/>
                </a:ext>
              </a:extLst>
            </p:cNvPr>
            <p:cNvGrpSpPr/>
            <p:nvPr/>
          </p:nvGrpSpPr>
          <p:grpSpPr>
            <a:xfrm>
              <a:off x="1924554" y="1182300"/>
              <a:ext cx="447093" cy="425446"/>
              <a:chOff x="2200457" y="710653"/>
              <a:chExt cx="447093" cy="425446"/>
            </a:xfrm>
          </p:grpSpPr>
          <p:sp>
            <p:nvSpPr>
              <p:cNvPr id="70" name="Freeform 6">
                <a:extLst>
                  <a:ext uri="{FF2B5EF4-FFF2-40B4-BE49-F238E27FC236}">
                    <a16:creationId xmlns:a16="http://schemas.microsoft.com/office/drawing/2014/main" id="{D57878B7-D5F9-4EE0-8777-8FD93CE12E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00457" y="710653"/>
                <a:ext cx="447093" cy="425446"/>
              </a:xfrm>
              <a:custGeom>
                <a:avLst/>
                <a:gdLst>
                  <a:gd name="T0" fmla="*/ 45 w 89"/>
                  <a:gd name="T1" fmla="*/ 0 h 89"/>
                  <a:gd name="T2" fmla="*/ 0 w 89"/>
                  <a:gd name="T3" fmla="*/ 45 h 89"/>
                  <a:gd name="T4" fmla="*/ 45 w 89"/>
                  <a:gd name="T5" fmla="*/ 89 h 89"/>
                  <a:gd name="T6" fmla="*/ 89 w 89"/>
                  <a:gd name="T7" fmla="*/ 45 h 89"/>
                  <a:gd name="T8" fmla="*/ 45 w 89"/>
                  <a:gd name="T9" fmla="*/ 0 h 89"/>
                  <a:gd name="T10" fmla="*/ 45 w 89"/>
                  <a:gd name="T11" fmla="*/ 85 h 89"/>
                  <a:gd name="T12" fmla="*/ 5 w 89"/>
                  <a:gd name="T13" fmla="*/ 45 h 89"/>
                  <a:gd name="T14" fmla="*/ 45 w 89"/>
                  <a:gd name="T15" fmla="*/ 5 h 89"/>
                  <a:gd name="T16" fmla="*/ 85 w 89"/>
                  <a:gd name="T17" fmla="*/ 45 h 89"/>
                  <a:gd name="T18" fmla="*/ 45 w 89"/>
                  <a:gd name="T19" fmla="*/ 85 h 89"/>
                  <a:gd name="T20" fmla="*/ 45 w 89"/>
                  <a:gd name="T21" fmla="*/ 85 h 89"/>
                  <a:gd name="T22" fmla="*/ 45 w 89"/>
                  <a:gd name="T23" fmla="*/ 85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89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  <a:cubicBezTo>
                      <a:pt x="0" y="69"/>
                      <a:pt x="20" y="89"/>
                      <a:pt x="45" y="89"/>
                    </a:cubicBezTo>
                    <a:cubicBezTo>
                      <a:pt x="69" y="89"/>
                      <a:pt x="89" y="69"/>
                      <a:pt x="89" y="45"/>
                    </a:cubicBezTo>
                    <a:cubicBezTo>
                      <a:pt x="89" y="20"/>
                      <a:pt x="69" y="0"/>
                      <a:pt x="45" y="0"/>
                    </a:cubicBezTo>
                    <a:close/>
                    <a:moveTo>
                      <a:pt x="45" y="85"/>
                    </a:moveTo>
                    <a:cubicBezTo>
                      <a:pt x="23" y="85"/>
                      <a:pt x="5" y="67"/>
                      <a:pt x="5" y="45"/>
                    </a:cubicBezTo>
                    <a:cubicBezTo>
                      <a:pt x="5" y="23"/>
                      <a:pt x="23" y="5"/>
                      <a:pt x="45" y="5"/>
                    </a:cubicBezTo>
                    <a:cubicBezTo>
                      <a:pt x="67" y="5"/>
                      <a:pt x="85" y="23"/>
                      <a:pt x="85" y="45"/>
                    </a:cubicBezTo>
                    <a:cubicBezTo>
                      <a:pt x="85" y="67"/>
                      <a:pt x="67" y="85"/>
                      <a:pt x="45" y="85"/>
                    </a:cubicBezTo>
                    <a:close/>
                    <a:moveTo>
                      <a:pt x="45" y="85"/>
                    </a:moveTo>
                    <a:cubicBezTo>
                      <a:pt x="45" y="85"/>
                      <a:pt x="45" y="85"/>
                      <a:pt x="45" y="8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26985" tIns="13493" rIns="26985" bIns="1349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srgbClr val="55555A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pic>
            <p:nvPicPr>
              <p:cNvPr id="71" name="Content Placeholder 8">
                <a:hlinkClick r:id="rId17"/>
                <a:extLst>
                  <a:ext uri="{FF2B5EF4-FFF2-40B4-BE49-F238E27FC236}">
                    <a16:creationId xmlns:a16="http://schemas.microsoft.com/office/drawing/2014/main" id="{94982969-1D71-41C4-AEAE-DEE873233C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303579" y="807686"/>
                <a:ext cx="257926" cy="23718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2553423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GridHome Document" ma:contentTypeID="0x0101002440DBB8640B184F9BC105F4D6E12E8F003CBFCDA36A162A409985B3CD86ADA7AB" ma:contentTypeVersion="33" ma:contentTypeDescription="This content type defines the GridHome documents metadata and allows the content authors to tag the documents. " ma:contentTypeScope="" ma:versionID="956f07e25c83b5ab1ad29042e3609fa1">
  <xsd:schema xmlns:xsd="http://www.w3.org/2001/XMLSchema" xmlns:xs="http://www.w3.org/2001/XMLSchema" xmlns:p="http://schemas.microsoft.com/office/2006/metadata/properties" xmlns:ns1="http://schemas.microsoft.com/sharepoint/v3" xmlns:ns2="3bd93946-93de-4f56-bf16-59b3d419113a" xmlns:ns3="cadce026-d35b-4a62-a2ee-1436bb44fb55" xmlns:ns4="0c2e17eb-166e-48ff-9bd7-5c781479134f" targetNamespace="http://schemas.microsoft.com/office/2006/metadata/properties" ma:root="true" ma:fieldsID="59f0ebb9faa8f4e8e978d6838af580bf" ns1:_="" ns2:_="" ns3:_="" ns4:_="">
    <xsd:import namespace="http://schemas.microsoft.com/sharepoint/v3"/>
    <xsd:import namespace="3bd93946-93de-4f56-bf16-59b3d419113a"/>
    <xsd:import namespace="cadce026-d35b-4a62-a2ee-1436bb44fb55"/>
    <xsd:import namespace="0c2e17eb-166e-48ff-9bd7-5c781479134f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p8bbf4eeef584c0e81cbaa5f1c82f15f" minOccurs="0"/>
                <xsd:element ref="ns3:TaxCatchAll" minOccurs="0"/>
                <xsd:element ref="ns3:TaxCatchAllLabel" minOccurs="0"/>
                <xsd:element ref="ns2:jbba2356bcf4444bb1f13d6b1e5acd03" minOccurs="0"/>
                <xsd:element ref="ns2:Document_x0020_Owner"/>
                <xsd:element ref="ns2:Expiry_x0020_Date"/>
                <xsd:element ref="ns2:f6199670b657427a9ea2baa708621742" minOccurs="0"/>
                <xsd:element ref="ns2:Summary"/>
                <xsd:element ref="ns2:Approved_x0020_Date"/>
                <xsd:element ref="ns2:n77db52010c34f7daea14ff9bfe6824a" minOccurs="0"/>
                <xsd:element ref="ns4:MediaServiceMetadata" minOccurs="0"/>
                <xsd:element ref="ns4:MediaServiceFastMetadata" minOccurs="0"/>
                <xsd:element ref="ns1:_dlc_Exempt" minOccurs="0"/>
                <xsd:element ref="ns1:_dlc_ExpireDateSaved" minOccurs="0"/>
                <xsd:element ref="ns1:_dlc_ExpireDate" minOccurs="0"/>
                <xsd:element ref="ns4:MediaServiceAutoKeyPoints" minOccurs="0"/>
                <xsd:element ref="ns4:MediaServiceKeyPoints" minOccurs="0"/>
                <xsd:element ref="ns2:SharedWithUsers" minOccurs="0"/>
                <xsd:element ref="ns2:SharedWithDetails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27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28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29" nillable="true" ma:displayName="Expiration Date" ma:description="" ma:hidden="true" ma:indexed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d93946-93de-4f56-bf16-59b3d419113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p8bbf4eeef584c0e81cbaa5f1c82f15f" ma:index="11" ma:taxonomy="true" ma:internalName="p8bbf4eeef584c0e81cbaa5f1c82f15f" ma:taxonomyFieldName="Business_x0020_Areas" ma:displayName="Business Areas" ma:readOnly="false" ma:default="" ma:fieldId="{98bbf4ee-ef58-4c0e-81cb-aa5f1c82f15f}" ma:taxonomyMulti="true" ma:sspId="f571c05a-9bf0-4b0b-ad97-e13aed49ba31" ma:termSetId="bbe71dac-dba9-4697-9d02-6bbcbf6068a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bba2356bcf4444bb1f13d6b1e5acd03" ma:index="15" ma:taxonomy="true" ma:internalName="jbba2356bcf4444bb1f13d6b1e5acd03" ma:taxonomyFieldName="Document_x0020_Categories" ma:displayName="Document Categories" ma:readOnly="false" ma:default="" ma:fieldId="{3bba2356-bcf4-444b-b1f1-3d6b1e5acd03}" ma:taxonomyMulti="true" ma:sspId="f571c05a-9bf0-4b0b-ad97-e13aed49ba31" ma:termSetId="2c5f9fbd-8f3c-4a22-8009-23c664a8806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ocument_x0020_Owner" ma:index="17" ma:displayName="Document Owner" ma:indexed="true" ma:list="UserInfo" ma:SharePointGroup="0" ma:internalName="Docum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piry_x0020_Date" ma:index="18" ma:displayName="Expiry Date" ma:format="DateOnly" ma:indexed="true" ma:internalName="Expiry_x0020_Date">
      <xsd:simpleType>
        <xsd:restriction base="dms:DateTime"/>
      </xsd:simpleType>
    </xsd:element>
    <xsd:element name="f6199670b657427a9ea2baa708621742" ma:index="19" ma:taxonomy="true" ma:internalName="f6199670b657427a9ea2baa708621742" ma:taxonomyFieldName="Locations" ma:displayName="Locations" ma:default="" ma:fieldId="{f6199670-b657-427a-9ea2-baa708621742}" ma:taxonomyMulti="true" ma:sspId="f571c05a-9bf0-4b0b-ad97-e13aed49ba31" ma:termSetId="7291d8ef-5205-47ed-85e8-218f37a270c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ummary" ma:index="21" ma:displayName="Summary" ma:internalName="Summary">
      <xsd:simpleType>
        <xsd:restriction base="dms:Text">
          <xsd:maxLength value="140"/>
        </xsd:restriction>
      </xsd:simpleType>
    </xsd:element>
    <xsd:element name="Approved_x0020_Date" ma:index="22" ma:displayName="Approved Date" ma:format="DateOnly" ma:indexed="true" ma:internalName="Approved_x0020_Date">
      <xsd:simpleType>
        <xsd:restriction base="dms:DateTime"/>
      </xsd:simpleType>
    </xsd:element>
    <xsd:element name="n77db52010c34f7daea14ff9bfe6824a" ma:index="23" ma:taxonomy="true" ma:internalName="n77db52010c34f7daea14ff9bfe6824a" ma:taxonomyFieldName="Topics" ma:displayName="Topics" ma:readOnly="false" ma:default="" ma:fieldId="{777db520-10c3-4f7d-aea1-4ff9bfe6824a}" ma:taxonomyMulti="true" ma:sspId="f571c05a-9bf0-4b0b-ad97-e13aed49ba31" ma:termSetId="1a101425-1003-40b6-9250-56faa441902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dce026-d35b-4a62-a2ee-1436bb44fb5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01ab590-0c57-452a-b57d-87e5781c858a}" ma:internalName="TaxCatchAll" ma:showField="CatchAllData" ma:web="3bd93946-93de-4f56-bf16-59b3d41911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201ab590-0c57-452a-b57d-87e5781c858a}" ma:internalName="TaxCatchAllLabel" ma:readOnly="true" ma:showField="CatchAllDataLabel" ma:web="3bd93946-93de-4f56-bf16-59b3d41911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2e17eb-166e-48ff-9bd7-5c78147913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3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34" nillable="true" ma:displayName="Tags" ma:internalName="MediaServiceAutoTags" ma:readOnly="true">
      <xsd:simpleType>
        <xsd:restriction base="dms:Text"/>
      </xsd:simpleType>
    </xsd:element>
    <xsd:element name="MediaServiceOCR" ma:index="3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3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3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39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Policy Auditing</Name>
    <Synchronization>Synchronous</Synchronization>
    <Type>10001</Type>
    <SequenceNumber>1100</SequenceNumber>
    <Url/>
    <Assembly>Microsoft.Office.Policy, Version=16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6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6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6.0.0.0, Culture=neutral, PublicKeyToken=71e9bce111e9429c</Assembly>
    <Class>Microsoft.Office.RecordsManagement.Internal.AuditHandler</Class>
    <Data/>
    <Filter/>
  </Receiver>
</spe:Receivers>
</file>

<file path=customXml/item3.xml><?xml version="1.0" encoding="utf-8"?>
<?mso-contentType ?>
<p:Policy xmlns:p="office.server.policy" id="" local="true">
  <p:Name>GridHome Document</p:Name>
  <p:Description>GridHome documents expired documents deletion policy.</p:Description>
  <p:Statement/>
  <p:PolicyItems>
    <p:PolicyItem featureId="Microsoft.Office.RecordsManagement.PolicyFeatures.PolicyAudit" staticId="0x0101002440DBB8640B184F9BC105F4D6E12E8F|1757814118" UniqueId="e92fc55a-971e-4fad-b75f-b802894af683">
      <p:Name>Auditing</p:Name>
      <p:Description>Audits user actions on documents and list items to the Audit Log.</p:Description>
      <p:CustomData>
        <Audit>
          <Update/>
          <CheckInOut/>
          <MoveCopy/>
          <DeleteRestore/>
        </Audit>
      </p:CustomData>
    </p:PolicyItem>
  </p:PolicyItems>
</p:Policy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piry_x0020_Date xmlns="3bd93946-93de-4f56-bf16-59b3d419113a">2023-10-06T04:00:00+00:00</Expiry_x0020_Date>
    <f6199670b657427a9ea2baa708621742 xmlns="3bd93946-93de-4f56-bf16-59b3d41911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Kingdom</TermName>
          <TermId xmlns="http://schemas.microsoft.com/office/infopath/2007/PartnerControls">92f25aa8-55c2-40bf-9172-4a299f89b05a</TermId>
        </TermInfo>
        <TermInfo xmlns="http://schemas.microsoft.com/office/infopath/2007/PartnerControls">
          <TermName xmlns="http://schemas.microsoft.com/office/infopath/2007/PartnerControls">United States</TermName>
          <TermId xmlns="http://schemas.microsoft.com/office/infopath/2007/PartnerControls">8fef47f8-cb6c-4de5-bc11-508784361bd5</TermId>
        </TermInfo>
      </Terms>
    </f6199670b657427a9ea2baa708621742>
    <Approved_x0020_Date xmlns="3bd93946-93de-4f56-bf16-59b3d419113a">2021-10-06T04:00:00+00:00</Approved_x0020_Date>
    <p8bbf4eeef584c0e81cbaa5f1c82f15f xmlns="3bd93946-93de-4f56-bf16-59b3d41911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IT and Digital</TermName>
          <TermId xmlns="http://schemas.microsoft.com/office/infopath/2007/PartnerControls">3fb9cb77-522d-487e-8c51-ae0244d596b2</TermId>
        </TermInfo>
      </Terms>
    </p8bbf4eeef584c0e81cbaa5f1c82f15f>
    <TaxCatchAll xmlns="cadce026-d35b-4a62-a2ee-1436bb44fb55">
      <Value>268</Value>
      <Value>11</Value>
      <Value>4</Value>
      <Value>7</Value>
      <Value>21</Value>
      <Value>36</Value>
    </TaxCatchAll>
    <jbba2356bcf4444bb1f13d6b1e5acd03 xmlns="3bd93946-93de-4f56-bf16-59b3d41911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Plan</TermName>
          <TermId xmlns="http://schemas.microsoft.com/office/infopath/2007/PartnerControls">0b5f69fd-73cb-48e6-8b44-efaf343e6f88</TermId>
        </TermInfo>
      </Terms>
    </jbba2356bcf4444bb1f13d6b1e5acd03>
    <n77db52010c34f7daea14ff9bfe6824a xmlns="3bd93946-93de-4f56-bf16-59b3d41911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IT</TermName>
          <TermId xmlns="http://schemas.microsoft.com/office/infopath/2007/PartnerControls">6cf4ada6-68f2-488a-8d01-58230063c502</TermId>
        </TermInfo>
        <TermInfo xmlns="http://schemas.microsoft.com/office/infopath/2007/PartnerControls">
          <TermName xmlns="http://schemas.microsoft.com/office/infopath/2007/PartnerControls">Org Change Mgmt</TermName>
          <TermId xmlns="http://schemas.microsoft.com/office/infopath/2007/PartnerControls">7e5b8387-cb6f-4457-865a-d5fd409fad00</TermId>
        </TermInfo>
      </Terms>
    </n77db52010c34f7daea14ff9bfe6824a>
    <Summary xmlns="3bd93946-93de-4f56-bf16-59b3d419113a">Core courses for the IT and Digital Learning Journey</Summary>
    <Document_x0020_Owner xmlns="3bd93946-93de-4f56-bf16-59b3d419113a">
      <UserInfo>
        <DisplayName>Hesselton, Stacey</DisplayName>
        <AccountId>12531</AccountId>
        <AccountType/>
      </UserInfo>
    </Document_x0020_Owner>
    <_dlc_DocId xmlns="3bd93946-93de-4f56-bf16-59b3d419113a">FAAXUNXKVTAM-1832050926-21434</_dlc_DocId>
    <_dlc_DocIdUrl xmlns="3bd93946-93de-4f56-bf16-59b3d419113a">
      <Url>https://nationalgridplc.sharepoint.com/sites/gridhome-ng/_layouts/15/DocIdRedir.aspx?ID=FAAXUNXKVTAM-1832050926-21434</Url>
      <Description>FAAXUNXKVTAM-1832050926-21434</Description>
    </_dlc_DocIdUrl>
  </documentManagement>
</p:properties>
</file>

<file path=customXml/itemProps1.xml><?xml version="1.0" encoding="utf-8"?>
<ds:datastoreItem xmlns:ds="http://schemas.openxmlformats.org/officeDocument/2006/customXml" ds:itemID="{D2DF9284-68B0-4568-8A36-D27CB70120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bd93946-93de-4f56-bf16-59b3d419113a"/>
    <ds:schemaRef ds:uri="cadce026-d35b-4a62-a2ee-1436bb44fb55"/>
    <ds:schemaRef ds:uri="0c2e17eb-166e-48ff-9bd7-5c78147913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03DFA31-4646-46D0-B885-180C4FAF13F8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9849720C-41B4-4068-A101-537382520C00}">
  <ds:schemaRefs>
    <ds:schemaRef ds:uri="office.server.policy"/>
  </ds:schemaRefs>
</ds:datastoreItem>
</file>

<file path=customXml/itemProps4.xml><?xml version="1.0" encoding="utf-8"?>
<ds:datastoreItem xmlns:ds="http://schemas.openxmlformats.org/officeDocument/2006/customXml" ds:itemID="{E0EF6BA5-067A-4A42-B480-F3A93F10126F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363A0EDE-B6A3-4862-9079-0D526F880E80}">
  <ds:schemaRefs>
    <ds:schemaRef ds:uri="http://schemas.microsoft.com/office/2006/documentManagement/types"/>
    <ds:schemaRef ds:uri="http://schemas.microsoft.com/sharepoint/v3"/>
    <ds:schemaRef ds:uri="http://purl.org/dc/elements/1.1/"/>
    <ds:schemaRef ds:uri="0c2e17eb-166e-48ff-9bd7-5c781479134f"/>
    <ds:schemaRef ds:uri="http://schemas.microsoft.com/office/infopath/2007/PartnerControls"/>
    <ds:schemaRef ds:uri="cadce026-d35b-4a62-a2ee-1436bb44fb55"/>
    <ds:schemaRef ds:uri="http://purl.org/dc/terms/"/>
    <ds:schemaRef ds:uri="http://schemas.microsoft.com/office/2006/metadata/properties"/>
    <ds:schemaRef ds:uri="http://schemas.openxmlformats.org/package/2006/metadata/core-properties"/>
    <ds:schemaRef ds:uri="3bd93946-93de-4f56-bf16-59b3d419113a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64</Words>
  <Application>Microsoft Office PowerPoint</Application>
  <PresentationFormat>Widescreen</PresentationFormat>
  <Paragraphs>35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US NG_2018 PPT__EnergyLines Template 16x9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e - IT Learning Journey (Please click the cloud icon to the right to access the links)</dc:title>
  <dc:creator>Sanchez, Adrienne</dc:creator>
  <cp:lastModifiedBy>Sanchez, Adrienne</cp:lastModifiedBy>
  <cp:revision>3</cp:revision>
  <dcterms:created xsi:type="dcterms:W3CDTF">2021-09-30T13:25:15Z</dcterms:created>
  <dcterms:modified xsi:type="dcterms:W3CDTF">2021-10-06T18:5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40DBB8640B184F9BC105F4D6E12E8F003CBFCDA36A162A409985B3CD86ADA7AB</vt:lpwstr>
  </property>
  <property fmtid="{D5CDD505-2E9C-101B-9397-08002B2CF9AE}" pid="3" name="_dlc_policyId">
    <vt:lpwstr/>
  </property>
  <property fmtid="{D5CDD505-2E9C-101B-9397-08002B2CF9AE}" pid="4" name="ItemRetentionFormula">
    <vt:lpwstr/>
  </property>
  <property fmtid="{D5CDD505-2E9C-101B-9397-08002B2CF9AE}" pid="5" name="_dlc_DocIdItemGuid">
    <vt:lpwstr>7d172be9-4c5c-4c70-9d50-793113f8ebdf</vt:lpwstr>
  </property>
  <property fmtid="{D5CDD505-2E9C-101B-9397-08002B2CF9AE}" pid="6" name="Business Areas">
    <vt:lpwstr>4;#IT and Digital|3fb9cb77-522d-487e-8c51-ae0244d596b2</vt:lpwstr>
  </property>
  <property fmtid="{D5CDD505-2E9C-101B-9397-08002B2CF9AE}" pid="7" name="Locations">
    <vt:lpwstr>11;#United Kingdom|92f25aa8-55c2-40bf-9172-4a299f89b05a;#21;#United States|8fef47f8-cb6c-4de5-bc11-508784361bd5</vt:lpwstr>
  </property>
  <property fmtid="{D5CDD505-2E9C-101B-9397-08002B2CF9AE}" pid="8" name="Document Categories">
    <vt:lpwstr>36;#Plan|0b5f69fd-73cb-48e6-8b44-efaf343e6f88</vt:lpwstr>
  </property>
  <property fmtid="{D5CDD505-2E9C-101B-9397-08002B2CF9AE}" pid="9" name="Topics">
    <vt:lpwstr>7;#IT|6cf4ada6-68f2-488a-8d01-58230063c502;#268;#Org Change Mgmt|7e5b8387-cb6f-4457-865a-d5fd409fad00</vt:lpwstr>
  </property>
</Properties>
</file>